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sldIdLst>
    <p:sldId id="350" r:id="rId2"/>
    <p:sldId id="1220" r:id="rId3"/>
    <p:sldId id="1099" r:id="rId4"/>
    <p:sldId id="1115" r:id="rId5"/>
    <p:sldId id="1117" r:id="rId6"/>
    <p:sldId id="1116" r:id="rId7"/>
    <p:sldId id="1052" r:id="rId8"/>
    <p:sldId id="1119" r:id="rId9"/>
    <p:sldId id="1120" r:id="rId10"/>
    <p:sldId id="1121" r:id="rId11"/>
    <p:sldId id="1122" r:id="rId12"/>
    <p:sldId id="1118" r:id="rId13"/>
    <p:sldId id="1056" r:id="rId14"/>
    <p:sldId id="1221" r:id="rId15"/>
    <p:sldId id="1224" r:id="rId16"/>
    <p:sldId id="1225" r:id="rId17"/>
    <p:sldId id="1223" r:id="rId18"/>
    <p:sldId id="1226" r:id="rId19"/>
    <p:sldId id="1228" r:id="rId20"/>
    <p:sldId id="1076" r:id="rId21"/>
    <p:sldId id="396" r:id="rId22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244F52-1F38-4BEB-835B-33F79644F174}" v="5365" dt="2022-12-21T14:14:52.7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74" autoAdjust="0"/>
    <p:restoredTop sz="94912" autoAdjust="0"/>
  </p:normalViewPr>
  <p:slideViewPr>
    <p:cSldViewPr snapToObjects="1">
      <p:cViewPr varScale="1">
        <p:scale>
          <a:sx n="53" d="100"/>
          <a:sy n="53" d="100"/>
        </p:scale>
        <p:origin x="36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97244F52-1F38-4BEB-835B-33F79644F174}"/>
    <pc:docChg chg="undo custSel addSld delSld modSld sldOrd">
      <pc:chgData name="Stina Ru" userId="a298bcda0a73aae4" providerId="LiveId" clId="{97244F52-1F38-4BEB-835B-33F79644F174}" dt="2022-12-27T11:50:29.468" v="7539" actId="6549"/>
      <pc:docMkLst>
        <pc:docMk/>
      </pc:docMkLst>
      <pc:sldChg chg="modSp mod">
        <pc:chgData name="Stina Ru" userId="a298bcda0a73aae4" providerId="LiveId" clId="{97244F52-1F38-4BEB-835B-33F79644F174}" dt="2022-12-27T11:50:29.468" v="7539" actId="6549"/>
        <pc:sldMkLst>
          <pc:docMk/>
          <pc:sldMk cId="175173122" sldId="350"/>
        </pc:sldMkLst>
        <pc:spChg chg="mod">
          <ac:chgData name="Stina Ru" userId="a298bcda0a73aae4" providerId="LiveId" clId="{97244F52-1F38-4BEB-835B-33F79644F174}" dt="2022-12-27T11:50:29.468" v="7539" actId="6549"/>
          <ac:spMkLst>
            <pc:docMk/>
            <pc:sldMk cId="175173122" sldId="350"/>
            <ac:spMk id="2" creationId="{00000000-0000-0000-0000-000000000000}"/>
          </ac:spMkLst>
        </pc:spChg>
      </pc:sldChg>
      <pc:sldChg chg="modSp mod">
        <pc:chgData name="Stina Ru" userId="a298bcda0a73aae4" providerId="LiveId" clId="{97244F52-1F38-4BEB-835B-33F79644F174}" dt="2022-12-20T10:58:33.746" v="5846" actId="255"/>
        <pc:sldMkLst>
          <pc:docMk/>
          <pc:sldMk cId="2456413679" sldId="396"/>
        </pc:sldMkLst>
        <pc:spChg chg="mod">
          <ac:chgData name="Stina Ru" userId="a298bcda0a73aae4" providerId="LiveId" clId="{97244F52-1F38-4BEB-835B-33F79644F174}" dt="2022-12-20T10:58:33.746" v="5846" actId="255"/>
          <ac:spMkLst>
            <pc:docMk/>
            <pc:sldMk cId="2456413679" sldId="396"/>
            <ac:spMk id="9" creationId="{28CD78BF-FD21-4273-AC08-8CC747F9071D}"/>
          </ac:spMkLst>
        </pc:spChg>
      </pc:sldChg>
      <pc:sldChg chg="addSp delSp modSp mod">
        <pc:chgData name="Stina Ru" userId="a298bcda0a73aae4" providerId="LiveId" clId="{97244F52-1F38-4BEB-835B-33F79644F174}" dt="2022-12-21T08:44:08.329" v="6808"/>
        <pc:sldMkLst>
          <pc:docMk/>
          <pc:sldMk cId="3371148755" sldId="1052"/>
        </pc:sldMkLst>
        <pc:spChg chg="mod">
          <ac:chgData name="Stina Ru" userId="a298bcda0a73aae4" providerId="LiveId" clId="{97244F52-1F38-4BEB-835B-33F79644F174}" dt="2022-12-21T08:44:04.229" v="6806" actId="1076"/>
          <ac:spMkLst>
            <pc:docMk/>
            <pc:sldMk cId="3371148755" sldId="1052"/>
            <ac:spMk id="36" creationId="{71F59DE9-B28D-FE46-5A7B-52DFA47F4415}"/>
          </ac:spMkLst>
        </pc:spChg>
        <pc:cxnChg chg="add mod">
          <ac:chgData name="Stina Ru" userId="a298bcda0a73aae4" providerId="LiveId" clId="{97244F52-1F38-4BEB-835B-33F79644F174}" dt="2022-12-21T08:44:08.329" v="6808"/>
          <ac:cxnSpMkLst>
            <pc:docMk/>
            <pc:sldMk cId="3371148755" sldId="1052"/>
            <ac:cxnSpMk id="6" creationId="{C260401B-8B14-64E7-7932-E87ED3A2F418}"/>
          </ac:cxnSpMkLst>
        </pc:cxnChg>
        <pc:cxnChg chg="del">
          <ac:chgData name="Stina Ru" userId="a298bcda0a73aae4" providerId="LiveId" clId="{97244F52-1F38-4BEB-835B-33F79644F174}" dt="2022-12-21T08:44:07.313" v="6807" actId="21"/>
          <ac:cxnSpMkLst>
            <pc:docMk/>
            <pc:sldMk cId="3371148755" sldId="1052"/>
            <ac:cxnSpMk id="20" creationId="{BF187FA9-B04D-9D09-2AEB-5B375647E909}"/>
          </ac:cxnSpMkLst>
        </pc:cxnChg>
      </pc:sldChg>
      <pc:sldChg chg="addSp delSp modSp mod modAnim">
        <pc:chgData name="Stina Ru" userId="a298bcda0a73aae4" providerId="LiveId" clId="{97244F52-1F38-4BEB-835B-33F79644F174}" dt="2022-12-21T08:52:18.347" v="6812" actId="1076"/>
        <pc:sldMkLst>
          <pc:docMk/>
          <pc:sldMk cId="814079691" sldId="1056"/>
        </pc:sldMkLst>
        <pc:spChg chg="mod">
          <ac:chgData name="Stina Ru" userId="a298bcda0a73aae4" providerId="LiveId" clId="{97244F52-1F38-4BEB-835B-33F79644F174}" dt="2022-12-19T18:21:33.430" v="1574" actId="20577"/>
          <ac:spMkLst>
            <pc:docMk/>
            <pc:sldMk cId="814079691" sldId="1056"/>
            <ac:spMk id="2" creationId="{2E8E55A0-73B3-4565-BA58-ACE5F64229D6}"/>
          </ac:spMkLst>
        </pc:spChg>
        <pc:spChg chg="del mod">
          <ac:chgData name="Stina Ru" userId="a298bcda0a73aae4" providerId="LiveId" clId="{97244F52-1F38-4BEB-835B-33F79644F174}" dt="2022-12-19T18:25:34.896" v="1799" actId="478"/>
          <ac:spMkLst>
            <pc:docMk/>
            <pc:sldMk cId="814079691" sldId="1056"/>
            <ac:spMk id="6" creationId="{A30FA376-765E-4F0C-B20E-818A352C5291}"/>
          </ac:spMkLst>
        </pc:spChg>
        <pc:spChg chg="mod">
          <ac:chgData name="Stina Ru" userId="a298bcda0a73aae4" providerId="LiveId" clId="{97244F52-1F38-4BEB-835B-33F79644F174}" dt="2022-12-19T18:21:30.591" v="1573" actId="20577"/>
          <ac:spMkLst>
            <pc:docMk/>
            <pc:sldMk cId="814079691" sldId="1056"/>
            <ac:spMk id="10" creationId="{7652CA17-35DE-AF7C-02C8-F6CB4EA05291}"/>
          </ac:spMkLst>
        </pc:spChg>
        <pc:spChg chg="add mod">
          <ac:chgData name="Stina Ru" userId="a298bcda0a73aae4" providerId="LiveId" clId="{97244F52-1F38-4BEB-835B-33F79644F174}" dt="2022-12-20T11:49:45.033" v="6712" actId="1076"/>
          <ac:spMkLst>
            <pc:docMk/>
            <pc:sldMk cId="814079691" sldId="1056"/>
            <ac:spMk id="11" creationId="{64CA36D3-96D8-AB6B-F665-E192EC9B176C}"/>
          </ac:spMkLst>
        </pc:spChg>
        <pc:spChg chg="add mod">
          <ac:chgData name="Stina Ru" userId="a298bcda0a73aae4" providerId="LiveId" clId="{97244F52-1F38-4BEB-835B-33F79644F174}" dt="2022-12-21T08:52:09.781" v="6811" actId="20577"/>
          <ac:spMkLst>
            <pc:docMk/>
            <pc:sldMk cId="814079691" sldId="1056"/>
            <ac:spMk id="12" creationId="{CD916333-B172-6570-0429-E6DD0F2502B7}"/>
          </ac:spMkLst>
        </pc:spChg>
        <pc:spChg chg="add mod">
          <ac:chgData name="Stina Ru" userId="a298bcda0a73aae4" providerId="LiveId" clId="{97244F52-1F38-4BEB-835B-33F79644F174}" dt="2022-12-20T11:52:48.849" v="6764" actId="1076"/>
          <ac:spMkLst>
            <pc:docMk/>
            <pc:sldMk cId="814079691" sldId="1056"/>
            <ac:spMk id="13" creationId="{9252228A-C7C6-7075-5BB9-D6D67689D31C}"/>
          </ac:spMkLst>
        </pc:spChg>
        <pc:spChg chg="add mod">
          <ac:chgData name="Stina Ru" userId="a298bcda0a73aae4" providerId="LiveId" clId="{97244F52-1F38-4BEB-835B-33F79644F174}" dt="2022-12-20T11:52:52.137" v="6766" actId="1076"/>
          <ac:spMkLst>
            <pc:docMk/>
            <pc:sldMk cId="814079691" sldId="1056"/>
            <ac:spMk id="14" creationId="{A41FA273-A038-9061-48A3-B2AFB9992C9A}"/>
          </ac:spMkLst>
        </pc:spChg>
        <pc:spChg chg="add mod">
          <ac:chgData name="Stina Ru" userId="a298bcda0a73aae4" providerId="LiveId" clId="{97244F52-1F38-4BEB-835B-33F79644F174}" dt="2022-12-20T11:52:30.240" v="6757" actId="1076"/>
          <ac:spMkLst>
            <pc:docMk/>
            <pc:sldMk cId="814079691" sldId="1056"/>
            <ac:spMk id="15" creationId="{C5EA99F4-ADE6-8C65-C746-07B007A6D9E9}"/>
          </ac:spMkLst>
        </pc:spChg>
        <pc:graphicFrameChg chg="del mod modGraphic">
          <ac:chgData name="Stina Ru" userId="a298bcda0a73aae4" providerId="LiveId" clId="{97244F52-1F38-4BEB-835B-33F79644F174}" dt="2022-12-19T18:21:56.959" v="1578" actId="478"/>
          <ac:graphicFrameMkLst>
            <pc:docMk/>
            <pc:sldMk cId="814079691" sldId="1056"/>
            <ac:graphicFrameMk id="3" creationId="{C4B7377D-2538-E6A5-7402-5C6DE49E3E5D}"/>
          </ac:graphicFrameMkLst>
        </pc:graphicFrameChg>
        <pc:graphicFrameChg chg="add mod modGraphic">
          <ac:chgData name="Stina Ru" userId="a298bcda0a73aae4" providerId="LiveId" clId="{97244F52-1F38-4BEB-835B-33F79644F174}" dt="2022-12-20T11:52:26.374" v="6756" actId="20577"/>
          <ac:graphicFrameMkLst>
            <pc:docMk/>
            <pc:sldMk cId="814079691" sldId="1056"/>
            <ac:graphicFrameMk id="7" creationId="{F00B5E92-755C-85B0-FD60-11D89B032766}"/>
          </ac:graphicFrameMkLst>
        </pc:graphicFrameChg>
        <pc:picChg chg="add del mod">
          <ac:chgData name="Stina Ru" userId="a298bcda0a73aae4" providerId="LiveId" clId="{97244F52-1F38-4BEB-835B-33F79644F174}" dt="2022-12-20T11:48:15.864" v="6685" actId="478"/>
          <ac:picMkLst>
            <pc:docMk/>
            <pc:sldMk cId="814079691" sldId="1056"/>
            <ac:picMk id="6" creationId="{85EE9B47-1DF5-A8C3-02F5-E1BF9557347A}"/>
          </ac:picMkLst>
        </pc:picChg>
        <pc:picChg chg="del">
          <ac:chgData name="Stina Ru" userId="a298bcda0a73aae4" providerId="LiveId" clId="{97244F52-1F38-4BEB-835B-33F79644F174}" dt="2022-12-19T18:20:54.291" v="1505" actId="478"/>
          <ac:picMkLst>
            <pc:docMk/>
            <pc:sldMk cId="814079691" sldId="1056"/>
            <ac:picMk id="8" creationId="{FA05AFB4-12CA-7E7C-BF3E-A638005A1BA0}"/>
          </ac:picMkLst>
        </pc:picChg>
        <pc:picChg chg="add mod ord">
          <ac:chgData name="Stina Ru" userId="a298bcda0a73aae4" providerId="LiveId" clId="{97244F52-1F38-4BEB-835B-33F79644F174}" dt="2022-12-21T08:52:18.347" v="6812" actId="1076"/>
          <ac:picMkLst>
            <pc:docMk/>
            <pc:sldMk cId="814079691" sldId="1056"/>
            <ac:picMk id="9" creationId="{C42A1E8D-0B37-9889-5274-19A108BA027A}"/>
          </ac:picMkLst>
        </pc:picChg>
      </pc:sldChg>
      <pc:sldChg chg="del">
        <pc:chgData name="Stina Ru" userId="a298bcda0a73aae4" providerId="LiveId" clId="{97244F52-1F38-4BEB-835B-33F79644F174}" dt="2022-12-19T17:14:35.194" v="2" actId="47"/>
        <pc:sldMkLst>
          <pc:docMk/>
          <pc:sldMk cId="3447713420" sldId="1072"/>
        </pc:sldMkLst>
      </pc:sldChg>
      <pc:sldChg chg="modSp add del mod">
        <pc:chgData name="Stina Ru" userId="a298bcda0a73aae4" providerId="LiveId" clId="{97244F52-1F38-4BEB-835B-33F79644F174}" dt="2022-12-20T09:42:17.263" v="3919" actId="20577"/>
        <pc:sldMkLst>
          <pc:docMk/>
          <pc:sldMk cId="504956703" sldId="1076"/>
        </pc:sldMkLst>
        <pc:spChg chg="mod">
          <ac:chgData name="Stina Ru" userId="a298bcda0a73aae4" providerId="LiveId" clId="{97244F52-1F38-4BEB-835B-33F79644F174}" dt="2022-12-20T09:42:17.263" v="3919" actId="20577"/>
          <ac:spMkLst>
            <pc:docMk/>
            <pc:sldMk cId="504956703" sldId="1076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19T17:14:54.278" v="20" actId="207"/>
          <ac:spMkLst>
            <pc:docMk/>
            <pc:sldMk cId="504956703" sldId="1076"/>
            <ac:spMk id="3" creationId="{62E373E2-E479-4B85-B011-875D0EA60F4A}"/>
          </ac:spMkLst>
        </pc:spChg>
      </pc:sldChg>
      <pc:sldChg chg="modSp mod modAnim">
        <pc:chgData name="Stina Ru" userId="a298bcda0a73aae4" providerId="LiveId" clId="{97244F52-1F38-4BEB-835B-33F79644F174}" dt="2022-12-21T08:40:16.520" v="6787"/>
        <pc:sldMkLst>
          <pc:docMk/>
          <pc:sldMk cId="3022998504" sldId="1099"/>
        </pc:sldMkLst>
        <pc:spChg chg="mod">
          <ac:chgData name="Stina Ru" userId="a298bcda0a73aae4" providerId="LiveId" clId="{97244F52-1F38-4BEB-835B-33F79644F174}" dt="2022-12-21T08:39:50.186" v="6784" actId="1076"/>
          <ac:spMkLst>
            <pc:docMk/>
            <pc:sldMk cId="3022998504" sldId="1099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21T08:39:46.637" v="6783" actId="1076"/>
          <ac:spMkLst>
            <pc:docMk/>
            <pc:sldMk cId="3022998504" sldId="1099"/>
            <ac:spMk id="3" creationId="{62E373E2-E479-4B85-B011-875D0EA60F4A}"/>
          </ac:spMkLst>
        </pc:spChg>
      </pc:sldChg>
      <pc:sldChg chg="del">
        <pc:chgData name="Stina Ru" userId="a298bcda0a73aae4" providerId="LiveId" clId="{97244F52-1F38-4BEB-835B-33F79644F174}" dt="2022-12-19T17:14:34.298" v="0" actId="47"/>
        <pc:sldMkLst>
          <pc:docMk/>
          <pc:sldMk cId="1286590958" sldId="1100"/>
        </pc:sldMkLst>
      </pc:sldChg>
      <pc:sldChg chg="del">
        <pc:chgData name="Stina Ru" userId="a298bcda0a73aae4" providerId="LiveId" clId="{97244F52-1F38-4BEB-835B-33F79644F174}" dt="2022-12-19T17:14:35.557" v="3" actId="47"/>
        <pc:sldMkLst>
          <pc:docMk/>
          <pc:sldMk cId="245693674" sldId="1101"/>
        </pc:sldMkLst>
      </pc:sldChg>
      <pc:sldChg chg="del">
        <pc:chgData name="Stina Ru" userId="a298bcda0a73aae4" providerId="LiveId" clId="{97244F52-1F38-4BEB-835B-33F79644F174}" dt="2022-12-19T17:14:34.794" v="1" actId="47"/>
        <pc:sldMkLst>
          <pc:docMk/>
          <pc:sldMk cId="1328024162" sldId="1104"/>
        </pc:sldMkLst>
      </pc:sldChg>
      <pc:sldChg chg="del">
        <pc:chgData name="Stina Ru" userId="a298bcda0a73aae4" providerId="LiveId" clId="{97244F52-1F38-4BEB-835B-33F79644F174}" dt="2022-12-19T17:14:38.031" v="10" actId="47"/>
        <pc:sldMkLst>
          <pc:docMk/>
          <pc:sldMk cId="3631535969" sldId="1105"/>
        </pc:sldMkLst>
      </pc:sldChg>
      <pc:sldChg chg="del">
        <pc:chgData name="Stina Ru" userId="a298bcda0a73aae4" providerId="LiveId" clId="{97244F52-1F38-4BEB-835B-33F79644F174}" dt="2022-12-19T17:14:36.282" v="5" actId="47"/>
        <pc:sldMkLst>
          <pc:docMk/>
          <pc:sldMk cId="2811056513" sldId="1106"/>
        </pc:sldMkLst>
      </pc:sldChg>
      <pc:sldChg chg="del">
        <pc:chgData name="Stina Ru" userId="a298bcda0a73aae4" providerId="LiveId" clId="{97244F52-1F38-4BEB-835B-33F79644F174}" dt="2022-12-19T17:14:35.937" v="4" actId="47"/>
        <pc:sldMkLst>
          <pc:docMk/>
          <pc:sldMk cId="2895293594" sldId="1107"/>
        </pc:sldMkLst>
      </pc:sldChg>
      <pc:sldChg chg="del">
        <pc:chgData name="Stina Ru" userId="a298bcda0a73aae4" providerId="LiveId" clId="{97244F52-1F38-4BEB-835B-33F79644F174}" dt="2022-12-19T17:14:36.664" v="6" actId="47"/>
        <pc:sldMkLst>
          <pc:docMk/>
          <pc:sldMk cId="1396513823" sldId="1108"/>
        </pc:sldMkLst>
      </pc:sldChg>
      <pc:sldChg chg="del">
        <pc:chgData name="Stina Ru" userId="a298bcda0a73aae4" providerId="LiveId" clId="{97244F52-1F38-4BEB-835B-33F79644F174}" dt="2022-12-19T17:14:37.003" v="7" actId="47"/>
        <pc:sldMkLst>
          <pc:docMk/>
          <pc:sldMk cId="2986983521" sldId="1111"/>
        </pc:sldMkLst>
      </pc:sldChg>
      <pc:sldChg chg="del">
        <pc:chgData name="Stina Ru" userId="a298bcda0a73aae4" providerId="LiveId" clId="{97244F52-1F38-4BEB-835B-33F79644F174}" dt="2022-12-19T17:14:37.379" v="8" actId="47"/>
        <pc:sldMkLst>
          <pc:docMk/>
          <pc:sldMk cId="1709515969" sldId="1112"/>
        </pc:sldMkLst>
      </pc:sldChg>
      <pc:sldChg chg="del">
        <pc:chgData name="Stina Ru" userId="a298bcda0a73aae4" providerId="LiveId" clId="{97244F52-1F38-4BEB-835B-33F79644F174}" dt="2022-12-19T17:14:37.717" v="9" actId="47"/>
        <pc:sldMkLst>
          <pc:docMk/>
          <pc:sldMk cId="107726090" sldId="1113"/>
        </pc:sldMkLst>
      </pc:sldChg>
      <pc:sldChg chg="del">
        <pc:chgData name="Stina Ru" userId="a298bcda0a73aae4" providerId="LiveId" clId="{97244F52-1F38-4BEB-835B-33F79644F174}" dt="2022-12-19T17:14:38.567" v="11" actId="47"/>
        <pc:sldMkLst>
          <pc:docMk/>
          <pc:sldMk cId="3124807946" sldId="1114"/>
        </pc:sldMkLst>
      </pc:sldChg>
      <pc:sldChg chg="modSp modAnim">
        <pc:chgData name="Stina Ru" userId="a298bcda0a73aae4" providerId="LiveId" clId="{97244F52-1F38-4BEB-835B-33F79644F174}" dt="2022-12-21T08:40:42.929" v="6788" actId="20577"/>
        <pc:sldMkLst>
          <pc:docMk/>
          <pc:sldMk cId="775593350" sldId="1115"/>
        </pc:sldMkLst>
        <pc:spChg chg="mod">
          <ac:chgData name="Stina Ru" userId="a298bcda0a73aae4" providerId="LiveId" clId="{97244F52-1F38-4BEB-835B-33F79644F174}" dt="2022-12-21T08:40:42.929" v="6788" actId="20577"/>
          <ac:spMkLst>
            <pc:docMk/>
            <pc:sldMk cId="775593350" sldId="1115"/>
            <ac:spMk id="3" creationId="{62E373E2-E479-4B85-B011-875D0EA60F4A}"/>
          </ac:spMkLst>
        </pc:spChg>
      </pc:sldChg>
      <pc:sldChg chg="modSp add del mod modAnim">
        <pc:chgData name="Stina Ru" userId="a298bcda0a73aae4" providerId="LiveId" clId="{97244F52-1F38-4BEB-835B-33F79644F174}" dt="2022-12-20T11:23:30.958" v="6254"/>
        <pc:sldMkLst>
          <pc:docMk/>
          <pc:sldMk cId="2128778417" sldId="1116"/>
        </pc:sldMkLst>
        <pc:spChg chg="mod">
          <ac:chgData name="Stina Ru" userId="a298bcda0a73aae4" providerId="LiveId" clId="{97244F52-1F38-4BEB-835B-33F79644F174}" dt="2022-12-20T11:23:26.623" v="6253" actId="20577"/>
          <ac:spMkLst>
            <pc:docMk/>
            <pc:sldMk cId="2128778417" sldId="1116"/>
            <ac:spMk id="3" creationId="{62E373E2-E479-4B85-B011-875D0EA60F4A}"/>
          </ac:spMkLst>
        </pc:spChg>
      </pc:sldChg>
      <pc:sldChg chg="modSp add del modAnim">
        <pc:chgData name="Stina Ru" userId="a298bcda0a73aae4" providerId="LiveId" clId="{97244F52-1F38-4BEB-835B-33F79644F174}" dt="2022-12-20T11:41:18.712" v="6609"/>
        <pc:sldMkLst>
          <pc:docMk/>
          <pc:sldMk cId="2609080064" sldId="1117"/>
        </pc:sldMkLst>
        <pc:spChg chg="mod">
          <ac:chgData name="Stina Ru" userId="a298bcda0a73aae4" providerId="LiveId" clId="{97244F52-1F38-4BEB-835B-33F79644F174}" dt="2022-12-20T11:22:38.897" v="6237" actId="20577"/>
          <ac:spMkLst>
            <pc:docMk/>
            <pc:sldMk cId="2609080064" sldId="1117"/>
            <ac:spMk id="3" creationId="{62E373E2-E479-4B85-B011-875D0EA60F4A}"/>
          </ac:spMkLst>
        </pc:spChg>
      </pc:sldChg>
      <pc:sldChg chg="addSp modSp mod ord modAnim">
        <pc:chgData name="Stina Ru" userId="a298bcda0a73aae4" providerId="LiveId" clId="{97244F52-1F38-4BEB-835B-33F79644F174}" dt="2022-12-20T11:30:05.040" v="6530"/>
        <pc:sldMkLst>
          <pc:docMk/>
          <pc:sldMk cId="957483926" sldId="1118"/>
        </pc:sldMkLst>
        <pc:spChg chg="mod">
          <ac:chgData name="Stina Ru" userId="a298bcda0a73aae4" providerId="LiveId" clId="{97244F52-1F38-4BEB-835B-33F79644F174}" dt="2022-12-19T18:20:31.884" v="1470" actId="20577"/>
          <ac:spMkLst>
            <pc:docMk/>
            <pc:sldMk cId="957483926" sldId="1118"/>
            <ac:spMk id="3" creationId="{62E373E2-E479-4B85-B011-875D0EA60F4A}"/>
          </ac:spMkLst>
        </pc:spChg>
        <pc:spChg chg="add mod">
          <ac:chgData name="Stina Ru" userId="a298bcda0a73aae4" providerId="LiveId" clId="{97244F52-1F38-4BEB-835B-33F79644F174}" dt="2022-12-20T11:28:17.846" v="6472" actId="255"/>
          <ac:spMkLst>
            <pc:docMk/>
            <pc:sldMk cId="957483926" sldId="1118"/>
            <ac:spMk id="7" creationId="{6C6CE334-2B39-9DD3-8C95-01D85D07B3AE}"/>
          </ac:spMkLst>
        </pc:spChg>
        <pc:spChg chg="add mod">
          <ac:chgData name="Stina Ru" userId="a298bcda0a73aae4" providerId="LiveId" clId="{97244F52-1F38-4BEB-835B-33F79644F174}" dt="2022-12-20T11:28:37.703" v="6493" actId="1076"/>
          <ac:spMkLst>
            <pc:docMk/>
            <pc:sldMk cId="957483926" sldId="1118"/>
            <ac:spMk id="9" creationId="{A8B6BC15-972E-C061-65A8-1F23F90C77BD}"/>
          </ac:spMkLst>
        </pc:spChg>
        <pc:spChg chg="add mod">
          <ac:chgData name="Stina Ru" userId="a298bcda0a73aae4" providerId="LiveId" clId="{97244F52-1F38-4BEB-835B-33F79644F174}" dt="2022-12-20T11:29:28.525" v="6519" actId="1076"/>
          <ac:spMkLst>
            <pc:docMk/>
            <pc:sldMk cId="957483926" sldId="1118"/>
            <ac:spMk id="11" creationId="{EE3C2AE5-9411-B7ED-3279-DC6DC87960FF}"/>
          </ac:spMkLst>
        </pc:spChg>
        <pc:spChg chg="add mod">
          <ac:chgData name="Stina Ru" userId="a298bcda0a73aae4" providerId="LiveId" clId="{97244F52-1F38-4BEB-835B-33F79644F174}" dt="2022-12-20T11:29:22.510" v="6514" actId="1076"/>
          <ac:spMkLst>
            <pc:docMk/>
            <pc:sldMk cId="957483926" sldId="1118"/>
            <ac:spMk id="12" creationId="{BA123943-A180-1F3A-F7B4-74BF136846D5}"/>
          </ac:spMkLst>
        </pc:spChg>
        <pc:graphicFrameChg chg="mod modGraphic">
          <ac:chgData name="Stina Ru" userId="a298bcda0a73aae4" providerId="LiveId" clId="{97244F52-1F38-4BEB-835B-33F79644F174}" dt="2022-12-20T11:29:25.532" v="6518" actId="20577"/>
          <ac:graphicFrameMkLst>
            <pc:docMk/>
            <pc:sldMk cId="957483926" sldId="1118"/>
            <ac:graphicFrameMk id="6" creationId="{12AA0DC4-D2F3-396C-9CAC-30D45D7FD9B9}"/>
          </ac:graphicFrameMkLst>
        </pc:graphicFrameChg>
        <pc:picChg chg="mod">
          <ac:chgData name="Stina Ru" userId="a298bcda0a73aae4" providerId="LiveId" clId="{97244F52-1F38-4BEB-835B-33F79644F174}" dt="2022-12-19T18:02:31.405" v="1285" actId="1076"/>
          <ac:picMkLst>
            <pc:docMk/>
            <pc:sldMk cId="957483926" sldId="1118"/>
            <ac:picMk id="8" creationId="{72950983-6793-2CEB-A636-863AABD0CCE6}"/>
          </ac:picMkLst>
        </pc:picChg>
        <pc:picChg chg="mod">
          <ac:chgData name="Stina Ru" userId="a298bcda0a73aae4" providerId="LiveId" clId="{97244F52-1F38-4BEB-835B-33F79644F174}" dt="2022-12-19T18:02:34.006" v="1286" actId="1076"/>
          <ac:picMkLst>
            <pc:docMk/>
            <pc:sldMk cId="957483926" sldId="1118"/>
            <ac:picMk id="10" creationId="{3A97DF40-CD45-45EA-70EB-BA4FEAE07F76}"/>
          </ac:picMkLst>
        </pc:picChg>
      </pc:sldChg>
      <pc:sldChg chg="modSp mod">
        <pc:chgData name="Stina Ru" userId="a298bcda0a73aae4" providerId="LiveId" clId="{97244F52-1F38-4BEB-835B-33F79644F174}" dt="2022-12-20T11:24:08.470" v="6264" actId="1076"/>
        <pc:sldMkLst>
          <pc:docMk/>
          <pc:sldMk cId="153240310" sldId="1119"/>
        </pc:sldMkLst>
        <pc:picChg chg="mod">
          <ac:chgData name="Stina Ru" userId="a298bcda0a73aae4" providerId="LiveId" clId="{97244F52-1F38-4BEB-835B-33F79644F174}" dt="2022-12-20T11:24:07.652" v="6263" actId="1076"/>
          <ac:picMkLst>
            <pc:docMk/>
            <pc:sldMk cId="153240310" sldId="1119"/>
            <ac:picMk id="7" creationId="{FC8BA3E5-7A8A-5843-49EF-D34321191C2E}"/>
          </ac:picMkLst>
        </pc:picChg>
        <pc:picChg chg="mod">
          <ac:chgData name="Stina Ru" userId="a298bcda0a73aae4" providerId="LiveId" clId="{97244F52-1F38-4BEB-835B-33F79644F174}" dt="2022-12-20T11:24:08.470" v="6264" actId="1076"/>
          <ac:picMkLst>
            <pc:docMk/>
            <pc:sldMk cId="153240310" sldId="1119"/>
            <ac:picMk id="9" creationId="{3B2C43AD-10C6-3675-D55C-B2270AFF7DAB}"/>
          </ac:picMkLst>
        </pc:picChg>
      </pc:sldChg>
      <pc:sldChg chg="modSp modAnim">
        <pc:chgData name="Stina Ru" userId="a298bcda0a73aae4" providerId="LiveId" clId="{97244F52-1F38-4BEB-835B-33F79644F174}" dt="2022-12-20T11:25:38.957" v="6336"/>
        <pc:sldMkLst>
          <pc:docMk/>
          <pc:sldMk cId="3817999731" sldId="1120"/>
        </pc:sldMkLst>
        <pc:spChg chg="mod">
          <ac:chgData name="Stina Ru" userId="a298bcda0a73aae4" providerId="LiveId" clId="{97244F52-1F38-4BEB-835B-33F79644F174}" dt="2022-12-20T11:25:28.825" v="6335" actId="20577"/>
          <ac:spMkLst>
            <pc:docMk/>
            <pc:sldMk cId="3817999731" sldId="1120"/>
            <ac:spMk id="3" creationId="{62E373E2-E479-4B85-B011-875D0EA60F4A}"/>
          </ac:spMkLst>
        </pc:spChg>
      </pc:sldChg>
      <pc:sldChg chg="addSp delSp modSp add mod modAnim">
        <pc:chgData name="Stina Ru" userId="a298bcda0a73aae4" providerId="LiveId" clId="{97244F52-1F38-4BEB-835B-33F79644F174}" dt="2022-12-20T11:26:49.308" v="6446"/>
        <pc:sldMkLst>
          <pc:docMk/>
          <pc:sldMk cId="2295398251" sldId="1121"/>
        </pc:sldMkLst>
        <pc:spChg chg="mod">
          <ac:chgData name="Stina Ru" userId="a298bcda0a73aae4" providerId="LiveId" clId="{97244F52-1F38-4BEB-835B-33F79644F174}" dt="2022-12-20T11:26:25.010" v="6445" actId="313"/>
          <ac:spMkLst>
            <pc:docMk/>
            <pc:sldMk cId="2295398251" sldId="1121"/>
            <ac:spMk id="3" creationId="{62E373E2-E479-4B85-B011-875D0EA60F4A}"/>
          </ac:spMkLst>
        </pc:spChg>
        <pc:picChg chg="del">
          <ac:chgData name="Stina Ru" userId="a298bcda0a73aae4" providerId="LiveId" clId="{97244F52-1F38-4BEB-835B-33F79644F174}" dt="2022-12-19T17:42:45.278" v="556" actId="478"/>
          <ac:picMkLst>
            <pc:docMk/>
            <pc:sldMk cId="2295398251" sldId="1121"/>
            <ac:picMk id="7" creationId="{D844E754-A667-9E30-7D98-1D57843AC308}"/>
          </ac:picMkLst>
        </pc:picChg>
        <pc:picChg chg="add mod ord">
          <ac:chgData name="Stina Ru" userId="a298bcda0a73aae4" providerId="LiveId" clId="{97244F52-1F38-4BEB-835B-33F79644F174}" dt="2022-12-19T17:44:19.683" v="573" actId="166"/>
          <ac:picMkLst>
            <pc:docMk/>
            <pc:sldMk cId="2295398251" sldId="1121"/>
            <ac:picMk id="8" creationId="{0F008F65-4660-96CB-7FF8-3FEFF766A43B}"/>
          </ac:picMkLst>
        </pc:picChg>
        <pc:cxnChg chg="del mod">
          <ac:chgData name="Stina Ru" userId="a298bcda0a73aae4" providerId="LiveId" clId="{97244F52-1F38-4BEB-835B-33F79644F174}" dt="2022-12-19T17:45:00.801" v="583" actId="21"/>
          <ac:cxnSpMkLst>
            <pc:docMk/>
            <pc:sldMk cId="2295398251" sldId="1121"/>
            <ac:cxnSpMk id="11" creationId="{799CAE4D-401F-D1DC-7F28-09DFE95CD3F8}"/>
          </ac:cxnSpMkLst>
        </pc:cxnChg>
        <pc:cxnChg chg="del mod">
          <ac:chgData name="Stina Ru" userId="a298bcda0a73aae4" providerId="LiveId" clId="{97244F52-1F38-4BEB-835B-33F79644F174}" dt="2022-12-19T17:44:24.096" v="575" actId="478"/>
          <ac:cxnSpMkLst>
            <pc:docMk/>
            <pc:sldMk cId="2295398251" sldId="1121"/>
            <ac:cxnSpMk id="12" creationId="{0A778B43-A6A7-C023-9D07-CD46EA4B8C1A}"/>
          </ac:cxnSpMkLst>
        </pc:cxnChg>
        <pc:cxnChg chg="mod">
          <ac:chgData name="Stina Ru" userId="a298bcda0a73aae4" providerId="LiveId" clId="{97244F52-1F38-4BEB-835B-33F79644F174}" dt="2022-12-19T17:44:14.594" v="571" actId="14100"/>
          <ac:cxnSpMkLst>
            <pc:docMk/>
            <pc:sldMk cId="2295398251" sldId="1121"/>
            <ac:cxnSpMk id="13" creationId="{98CDDF18-E867-302B-0EBD-58BDD23ED211}"/>
          </ac:cxnSpMkLst>
        </pc:cxnChg>
        <pc:cxnChg chg="add mod">
          <ac:chgData name="Stina Ru" userId="a298bcda0a73aae4" providerId="LiveId" clId="{97244F52-1F38-4BEB-835B-33F79644F174}" dt="2022-12-19T17:45:49.779" v="586" actId="14100"/>
          <ac:cxnSpMkLst>
            <pc:docMk/>
            <pc:sldMk cId="2295398251" sldId="1121"/>
            <ac:cxnSpMk id="17" creationId="{D1292E88-F6A3-96D4-9964-7C3739F38113}"/>
          </ac:cxnSpMkLst>
        </pc:cxnChg>
        <pc:cxnChg chg="add mod">
          <ac:chgData name="Stina Ru" userId="a298bcda0a73aae4" providerId="LiveId" clId="{97244F52-1F38-4BEB-835B-33F79644F174}" dt="2022-12-19T17:46:27.603" v="594" actId="14100"/>
          <ac:cxnSpMkLst>
            <pc:docMk/>
            <pc:sldMk cId="2295398251" sldId="1121"/>
            <ac:cxnSpMk id="19" creationId="{62E1BAAC-9264-6300-9FB8-6E97A54D4212}"/>
          </ac:cxnSpMkLst>
        </pc:cxnChg>
        <pc:cxnChg chg="add mod">
          <ac:chgData name="Stina Ru" userId="a298bcda0a73aae4" providerId="LiveId" clId="{97244F52-1F38-4BEB-835B-33F79644F174}" dt="2022-12-19T17:46:24.344" v="593" actId="14100"/>
          <ac:cxnSpMkLst>
            <pc:docMk/>
            <pc:sldMk cId="2295398251" sldId="1121"/>
            <ac:cxnSpMk id="22" creationId="{75BBD2A5-A86C-5030-1A18-35C85B0C1619}"/>
          </ac:cxnSpMkLst>
        </pc:cxnChg>
        <pc:cxnChg chg="add mod">
          <ac:chgData name="Stina Ru" userId="a298bcda0a73aae4" providerId="LiveId" clId="{97244F52-1F38-4BEB-835B-33F79644F174}" dt="2022-12-19T17:47:12.553" v="599" actId="14100"/>
          <ac:cxnSpMkLst>
            <pc:docMk/>
            <pc:sldMk cId="2295398251" sldId="1121"/>
            <ac:cxnSpMk id="28" creationId="{A241035B-1E3D-FAA3-6567-D9C183F8E275}"/>
          </ac:cxnSpMkLst>
        </pc:cxnChg>
      </pc:sldChg>
      <pc:sldChg chg="addSp delSp modSp add mod modAnim">
        <pc:chgData name="Stina Ru" userId="a298bcda0a73aae4" providerId="LiveId" clId="{97244F52-1F38-4BEB-835B-33F79644F174}" dt="2022-12-20T11:27:21.341" v="6466" actId="6549"/>
        <pc:sldMkLst>
          <pc:docMk/>
          <pc:sldMk cId="3709241478" sldId="1122"/>
        </pc:sldMkLst>
        <pc:spChg chg="mod">
          <ac:chgData name="Stina Ru" userId="a298bcda0a73aae4" providerId="LiveId" clId="{97244F52-1F38-4BEB-835B-33F79644F174}" dt="2022-12-20T11:27:21.341" v="6466" actId="6549"/>
          <ac:spMkLst>
            <pc:docMk/>
            <pc:sldMk cId="3709241478" sldId="1122"/>
            <ac:spMk id="3" creationId="{62E373E2-E479-4B85-B011-875D0EA60F4A}"/>
          </ac:spMkLst>
        </pc:spChg>
        <pc:picChg chg="add del mod">
          <ac:chgData name="Stina Ru" userId="a298bcda0a73aae4" providerId="LiveId" clId="{97244F52-1F38-4BEB-835B-33F79644F174}" dt="2022-12-19T17:53:28.467" v="1121" actId="478"/>
          <ac:picMkLst>
            <pc:docMk/>
            <pc:sldMk cId="3709241478" sldId="1122"/>
            <ac:picMk id="6" creationId="{2AA4894D-CA96-2469-CAEC-202FC087A022}"/>
          </ac:picMkLst>
        </pc:picChg>
        <pc:picChg chg="del">
          <ac:chgData name="Stina Ru" userId="a298bcda0a73aae4" providerId="LiveId" clId="{97244F52-1F38-4BEB-835B-33F79644F174}" dt="2022-12-19T17:49:36.749" v="671" actId="478"/>
          <ac:picMkLst>
            <pc:docMk/>
            <pc:sldMk cId="3709241478" sldId="1122"/>
            <ac:picMk id="8" creationId="{0F008F65-4660-96CB-7FF8-3FEFF766A43B}"/>
          </ac:picMkLst>
        </pc:picChg>
        <pc:picChg chg="add mod">
          <ac:chgData name="Stina Ru" userId="a298bcda0a73aae4" providerId="LiveId" clId="{97244F52-1F38-4BEB-835B-33F79644F174}" dt="2022-12-19T17:53:44.406" v="1126" actId="1076"/>
          <ac:picMkLst>
            <pc:docMk/>
            <pc:sldMk cId="3709241478" sldId="1122"/>
            <ac:picMk id="9" creationId="{3B1721EA-1FDA-C2A2-BD93-02C3679FB285}"/>
          </ac:picMkLst>
        </pc:picChg>
        <pc:cxnChg chg="add mod">
          <ac:chgData name="Stina Ru" userId="a298bcda0a73aae4" providerId="LiveId" clId="{97244F52-1F38-4BEB-835B-33F79644F174}" dt="2022-12-19T17:54:05.323" v="1130" actId="14100"/>
          <ac:cxnSpMkLst>
            <pc:docMk/>
            <pc:sldMk cId="3709241478" sldId="1122"/>
            <ac:cxnSpMk id="10" creationId="{E82E01FB-FD58-2A17-CEC2-3E01A929591A}"/>
          </ac:cxnSpMkLst>
        </pc:cxnChg>
        <pc:cxnChg chg="del">
          <ac:chgData name="Stina Ru" userId="a298bcda0a73aae4" providerId="LiveId" clId="{97244F52-1F38-4BEB-835B-33F79644F174}" dt="2022-12-19T17:49:52.809" v="679" actId="478"/>
          <ac:cxnSpMkLst>
            <pc:docMk/>
            <pc:sldMk cId="3709241478" sldId="1122"/>
            <ac:cxnSpMk id="13" creationId="{98CDDF18-E867-302B-0EBD-58BDD23ED211}"/>
          </ac:cxnSpMkLst>
        </pc:cxnChg>
        <pc:cxnChg chg="del">
          <ac:chgData name="Stina Ru" userId="a298bcda0a73aae4" providerId="LiveId" clId="{97244F52-1F38-4BEB-835B-33F79644F174}" dt="2022-12-19T17:49:54.267" v="680" actId="478"/>
          <ac:cxnSpMkLst>
            <pc:docMk/>
            <pc:sldMk cId="3709241478" sldId="1122"/>
            <ac:cxnSpMk id="17" creationId="{D1292E88-F6A3-96D4-9964-7C3739F38113}"/>
          </ac:cxnSpMkLst>
        </pc:cxnChg>
        <pc:cxnChg chg="del">
          <ac:chgData name="Stina Ru" userId="a298bcda0a73aae4" providerId="LiveId" clId="{97244F52-1F38-4BEB-835B-33F79644F174}" dt="2022-12-19T17:49:48.764" v="677" actId="478"/>
          <ac:cxnSpMkLst>
            <pc:docMk/>
            <pc:sldMk cId="3709241478" sldId="1122"/>
            <ac:cxnSpMk id="19" creationId="{62E1BAAC-9264-6300-9FB8-6E97A54D4212}"/>
          </ac:cxnSpMkLst>
        </pc:cxnChg>
        <pc:cxnChg chg="del">
          <ac:chgData name="Stina Ru" userId="a298bcda0a73aae4" providerId="LiveId" clId="{97244F52-1F38-4BEB-835B-33F79644F174}" dt="2022-12-19T17:49:51.364" v="678" actId="478"/>
          <ac:cxnSpMkLst>
            <pc:docMk/>
            <pc:sldMk cId="3709241478" sldId="1122"/>
            <ac:cxnSpMk id="22" creationId="{75BBD2A5-A86C-5030-1A18-35C85B0C1619}"/>
          </ac:cxnSpMkLst>
        </pc:cxnChg>
        <pc:cxnChg chg="del">
          <ac:chgData name="Stina Ru" userId="a298bcda0a73aae4" providerId="LiveId" clId="{97244F52-1F38-4BEB-835B-33F79644F174}" dt="2022-12-19T17:49:47.616" v="676" actId="478"/>
          <ac:cxnSpMkLst>
            <pc:docMk/>
            <pc:sldMk cId="3709241478" sldId="1122"/>
            <ac:cxnSpMk id="28" creationId="{A241035B-1E3D-FAA3-6567-D9C183F8E275}"/>
          </ac:cxnSpMkLst>
        </pc:cxnChg>
      </pc:sldChg>
      <pc:sldChg chg="add del">
        <pc:chgData name="Stina Ru" userId="a298bcda0a73aae4" providerId="LiveId" clId="{97244F52-1F38-4BEB-835B-33F79644F174}" dt="2022-12-20T10:54:18.061" v="5693" actId="47"/>
        <pc:sldMkLst>
          <pc:docMk/>
          <pc:sldMk cId="979855212" sldId="1176"/>
        </pc:sldMkLst>
      </pc:sldChg>
      <pc:sldChg chg="delSp modSp add mod">
        <pc:chgData name="Stina Ru" userId="a298bcda0a73aae4" providerId="LiveId" clId="{97244F52-1F38-4BEB-835B-33F79644F174}" dt="2022-12-27T11:50:16.604" v="7495" actId="20577"/>
        <pc:sldMkLst>
          <pc:docMk/>
          <pc:sldMk cId="2406902805" sldId="1220"/>
        </pc:sldMkLst>
        <pc:spChg chg="mod">
          <ac:chgData name="Stina Ru" userId="a298bcda0a73aae4" providerId="LiveId" clId="{97244F52-1F38-4BEB-835B-33F79644F174}" dt="2022-12-27T11:50:16.604" v="7495" actId="20577"/>
          <ac:spMkLst>
            <pc:docMk/>
            <pc:sldMk cId="2406902805" sldId="1220"/>
            <ac:spMk id="2" creationId="{2E8E55A0-73B3-4565-BA58-ACE5F64229D6}"/>
          </ac:spMkLst>
        </pc:spChg>
        <pc:picChg chg="del">
          <ac:chgData name="Stina Ru" userId="a298bcda0a73aae4" providerId="LiveId" clId="{97244F52-1F38-4BEB-835B-33F79644F174}" dt="2022-12-20T08:58:03.420" v="2530" actId="478"/>
          <ac:picMkLst>
            <pc:docMk/>
            <pc:sldMk cId="2406902805" sldId="1220"/>
            <ac:picMk id="3" creationId="{441C8BD3-2FC8-881A-388E-B58A609FDC57}"/>
          </ac:picMkLst>
        </pc:picChg>
      </pc:sldChg>
      <pc:sldChg chg="add ord">
        <pc:chgData name="Stina Ru" userId="a298bcda0a73aae4" providerId="LiveId" clId="{97244F52-1F38-4BEB-835B-33F79644F174}" dt="2022-12-20T09:09:48.260" v="2585"/>
        <pc:sldMkLst>
          <pc:docMk/>
          <pc:sldMk cId="3764401271" sldId="1221"/>
        </pc:sldMkLst>
      </pc:sldChg>
      <pc:sldChg chg="addSp delSp modSp add del mod ord modAnim">
        <pc:chgData name="Stina Ru" userId="a298bcda0a73aae4" providerId="LiveId" clId="{97244F52-1F38-4BEB-835B-33F79644F174}" dt="2022-12-20T09:23:22.475" v="3328" actId="47"/>
        <pc:sldMkLst>
          <pc:docMk/>
          <pc:sldMk cId="2459916614" sldId="1222"/>
        </pc:sldMkLst>
        <pc:spChg chg="mod">
          <ac:chgData name="Stina Ru" userId="a298bcda0a73aae4" providerId="LiveId" clId="{97244F52-1F38-4BEB-835B-33F79644F174}" dt="2022-12-20T09:09:45.446" v="2583" actId="6549"/>
          <ac:spMkLst>
            <pc:docMk/>
            <pc:sldMk cId="2459916614" sldId="1222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20T09:18:56.730" v="3269" actId="20577"/>
          <ac:spMkLst>
            <pc:docMk/>
            <pc:sldMk cId="2459916614" sldId="1222"/>
            <ac:spMk id="3" creationId="{62E373E2-E479-4B85-B011-875D0EA60F4A}"/>
          </ac:spMkLst>
        </pc:spChg>
        <pc:spChg chg="add mod">
          <ac:chgData name="Stina Ru" userId="a298bcda0a73aae4" providerId="LiveId" clId="{97244F52-1F38-4BEB-835B-33F79644F174}" dt="2022-12-20T09:18:12.502" v="3262" actId="1076"/>
          <ac:spMkLst>
            <pc:docMk/>
            <pc:sldMk cId="2459916614" sldId="1222"/>
            <ac:spMk id="6" creationId="{7CCB5B4B-2E94-9862-B5E3-881048B96187}"/>
          </ac:spMkLst>
        </pc:spChg>
        <pc:spChg chg="add mod">
          <ac:chgData name="Stina Ru" userId="a298bcda0a73aae4" providerId="LiveId" clId="{97244F52-1F38-4BEB-835B-33F79644F174}" dt="2022-12-20T09:18:25.402" v="3265" actId="1076"/>
          <ac:spMkLst>
            <pc:docMk/>
            <pc:sldMk cId="2459916614" sldId="1222"/>
            <ac:spMk id="7" creationId="{7EED6A64-6756-E2F0-B24C-EDE5CEEA7831}"/>
          </ac:spMkLst>
        </pc:spChg>
        <pc:spChg chg="add mod">
          <ac:chgData name="Stina Ru" userId="a298bcda0a73aae4" providerId="LiveId" clId="{97244F52-1F38-4BEB-835B-33F79644F174}" dt="2022-12-20T09:18:20.764" v="3264" actId="1076"/>
          <ac:spMkLst>
            <pc:docMk/>
            <pc:sldMk cId="2459916614" sldId="1222"/>
            <ac:spMk id="8" creationId="{DAF0B561-560D-CB38-9C8E-872B9D31B76D}"/>
          </ac:spMkLst>
        </pc:spChg>
        <pc:spChg chg="add del mod">
          <ac:chgData name="Stina Ru" userId="a298bcda0a73aae4" providerId="LiveId" clId="{97244F52-1F38-4BEB-835B-33F79644F174}" dt="2022-12-20T09:16:50.169" v="3223" actId="478"/>
          <ac:spMkLst>
            <pc:docMk/>
            <pc:sldMk cId="2459916614" sldId="1222"/>
            <ac:spMk id="11" creationId="{43528BF4-E528-3E82-9E53-C8C58B04CC4D}"/>
          </ac:spMkLst>
        </pc:spChg>
        <pc:spChg chg="add mod">
          <ac:chgData name="Stina Ru" userId="a298bcda0a73aae4" providerId="LiveId" clId="{97244F52-1F38-4BEB-835B-33F79644F174}" dt="2022-12-20T09:18:29.791" v="3266" actId="1076"/>
          <ac:spMkLst>
            <pc:docMk/>
            <pc:sldMk cId="2459916614" sldId="1222"/>
            <ac:spMk id="12" creationId="{25F7C6C4-DE77-BBD5-CF8B-FF57B3090D06}"/>
          </ac:spMkLst>
        </pc:spChg>
        <pc:picChg chg="del mod">
          <ac:chgData name="Stina Ru" userId="a298bcda0a73aae4" providerId="LiveId" clId="{97244F52-1F38-4BEB-835B-33F79644F174}" dt="2022-12-20T09:09:51.176" v="2587" actId="478"/>
          <ac:picMkLst>
            <pc:docMk/>
            <pc:sldMk cId="2459916614" sldId="1222"/>
            <ac:picMk id="9" creationId="{3B1721EA-1FDA-C2A2-BD93-02C3679FB285}"/>
          </ac:picMkLst>
        </pc:picChg>
        <pc:cxnChg chg="del">
          <ac:chgData name="Stina Ru" userId="a298bcda0a73aae4" providerId="LiveId" clId="{97244F52-1F38-4BEB-835B-33F79644F174}" dt="2022-12-20T09:09:53.234" v="2588" actId="478"/>
          <ac:cxnSpMkLst>
            <pc:docMk/>
            <pc:sldMk cId="2459916614" sldId="1222"/>
            <ac:cxnSpMk id="10" creationId="{E82E01FB-FD58-2A17-CEC2-3E01A929591A}"/>
          </ac:cxnSpMkLst>
        </pc:cxnChg>
      </pc:sldChg>
      <pc:sldChg chg="modSp add mod modAnim">
        <pc:chgData name="Stina Ru" userId="a298bcda0a73aae4" providerId="LiveId" clId="{97244F52-1F38-4BEB-835B-33F79644F174}" dt="2022-12-21T09:00:13.731" v="6827" actId="20577"/>
        <pc:sldMkLst>
          <pc:docMk/>
          <pc:sldMk cId="694084905" sldId="1223"/>
        </pc:sldMkLst>
        <pc:spChg chg="mod">
          <ac:chgData name="Stina Ru" userId="a298bcda0a73aae4" providerId="LiveId" clId="{97244F52-1F38-4BEB-835B-33F79644F174}" dt="2022-12-20T09:56:05.361" v="3935" actId="20577"/>
          <ac:spMkLst>
            <pc:docMk/>
            <pc:sldMk cId="694084905" sldId="1223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21T09:00:13.731" v="6827" actId="20577"/>
          <ac:spMkLst>
            <pc:docMk/>
            <pc:sldMk cId="694084905" sldId="1223"/>
            <ac:spMk id="3" creationId="{62E373E2-E479-4B85-B011-875D0EA60F4A}"/>
          </ac:spMkLst>
        </pc:spChg>
      </pc:sldChg>
      <pc:sldChg chg="addSp modSp add mod modAnim">
        <pc:chgData name="Stina Ru" userId="a298bcda0a73aae4" providerId="LiveId" clId="{97244F52-1F38-4BEB-835B-33F79644F174}" dt="2022-12-21T08:55:02.020" v="6813" actId="1076"/>
        <pc:sldMkLst>
          <pc:docMk/>
          <pc:sldMk cId="4265918322" sldId="1224"/>
        </pc:sldMkLst>
        <pc:spChg chg="mod">
          <ac:chgData name="Stina Ru" userId="a298bcda0a73aae4" providerId="LiveId" clId="{97244F52-1F38-4BEB-835B-33F79644F174}" dt="2022-12-20T11:33:45.644" v="6576" actId="1076"/>
          <ac:spMkLst>
            <pc:docMk/>
            <pc:sldMk cId="4265918322" sldId="1224"/>
            <ac:spMk id="3" creationId="{62E373E2-E479-4B85-B011-875D0EA60F4A}"/>
          </ac:spMkLst>
        </pc:spChg>
        <pc:spChg chg="mod">
          <ac:chgData name="Stina Ru" userId="a298bcda0a73aae4" providerId="LiveId" clId="{97244F52-1F38-4BEB-835B-33F79644F174}" dt="2022-12-20T09:21:56.344" v="3316" actId="1076"/>
          <ac:spMkLst>
            <pc:docMk/>
            <pc:sldMk cId="4265918322" sldId="1224"/>
            <ac:spMk id="6" creationId="{7CCB5B4B-2E94-9862-B5E3-881048B96187}"/>
          </ac:spMkLst>
        </pc:spChg>
        <pc:spChg chg="mod">
          <ac:chgData name="Stina Ru" userId="a298bcda0a73aae4" providerId="LiveId" clId="{97244F52-1F38-4BEB-835B-33F79644F174}" dt="2022-12-20T09:22:32.864" v="3322" actId="1076"/>
          <ac:spMkLst>
            <pc:docMk/>
            <pc:sldMk cId="4265918322" sldId="1224"/>
            <ac:spMk id="7" creationId="{7EED6A64-6756-E2F0-B24C-EDE5CEEA7831}"/>
          </ac:spMkLst>
        </pc:spChg>
        <pc:spChg chg="mod">
          <ac:chgData name="Stina Ru" userId="a298bcda0a73aae4" providerId="LiveId" clId="{97244F52-1F38-4BEB-835B-33F79644F174}" dt="2022-12-21T08:55:02.020" v="6813" actId="1076"/>
          <ac:spMkLst>
            <pc:docMk/>
            <pc:sldMk cId="4265918322" sldId="1224"/>
            <ac:spMk id="8" creationId="{DAF0B561-560D-CB38-9C8E-872B9D31B76D}"/>
          </ac:spMkLst>
        </pc:spChg>
        <pc:spChg chg="add mod">
          <ac:chgData name="Stina Ru" userId="a298bcda0a73aae4" providerId="LiveId" clId="{97244F52-1F38-4BEB-835B-33F79644F174}" dt="2022-12-20T09:22:55.712" v="3327" actId="1076"/>
          <ac:spMkLst>
            <pc:docMk/>
            <pc:sldMk cId="4265918322" sldId="1224"/>
            <ac:spMk id="9" creationId="{066DA4AB-62CB-A0C2-60B4-6CBE6F91AF94}"/>
          </ac:spMkLst>
        </pc:spChg>
        <pc:spChg chg="add mod">
          <ac:chgData name="Stina Ru" userId="a298bcda0a73aae4" providerId="LiveId" clId="{97244F52-1F38-4BEB-835B-33F79644F174}" dt="2022-12-20T11:32:04.493" v="6546" actId="1076"/>
          <ac:spMkLst>
            <pc:docMk/>
            <pc:sldMk cId="4265918322" sldId="1224"/>
            <ac:spMk id="10" creationId="{04FD48D6-6A2A-1591-99F6-0BF7164855AB}"/>
          </ac:spMkLst>
        </pc:spChg>
        <pc:spChg chg="add mod">
          <ac:chgData name="Stina Ru" userId="a298bcda0a73aae4" providerId="LiveId" clId="{97244F52-1F38-4BEB-835B-33F79644F174}" dt="2022-12-20T11:42:19.513" v="6611" actId="1076"/>
          <ac:spMkLst>
            <pc:docMk/>
            <pc:sldMk cId="4265918322" sldId="1224"/>
            <ac:spMk id="11" creationId="{E1DB21BF-C3EA-D534-1A73-15F3748E19E6}"/>
          </ac:spMkLst>
        </pc:spChg>
        <pc:spChg chg="mod">
          <ac:chgData name="Stina Ru" userId="a298bcda0a73aae4" providerId="LiveId" clId="{97244F52-1F38-4BEB-835B-33F79644F174}" dt="2022-12-20T09:22:39.964" v="3324" actId="1076"/>
          <ac:spMkLst>
            <pc:docMk/>
            <pc:sldMk cId="4265918322" sldId="1224"/>
            <ac:spMk id="12" creationId="{25F7C6C4-DE77-BBD5-CF8B-FF57B3090D06}"/>
          </ac:spMkLst>
        </pc:spChg>
        <pc:spChg chg="add mod">
          <ac:chgData name="Stina Ru" userId="a298bcda0a73aae4" providerId="LiveId" clId="{97244F52-1F38-4BEB-835B-33F79644F174}" dt="2022-12-20T11:42:07.477" v="6610" actId="1076"/>
          <ac:spMkLst>
            <pc:docMk/>
            <pc:sldMk cId="4265918322" sldId="1224"/>
            <ac:spMk id="13" creationId="{45FB9FE4-1971-3669-1D4D-2ED060F7B037}"/>
          </ac:spMkLst>
        </pc:spChg>
      </pc:sldChg>
      <pc:sldChg chg="addSp delSp modSp add mod modAnim">
        <pc:chgData name="Stina Ru" userId="a298bcda0a73aae4" providerId="LiveId" clId="{97244F52-1F38-4BEB-835B-33F79644F174}" dt="2022-12-20T11:36:04.441" v="6608" actId="1076"/>
        <pc:sldMkLst>
          <pc:docMk/>
          <pc:sldMk cId="3900407678" sldId="1225"/>
        </pc:sldMkLst>
        <pc:spChg chg="mod">
          <ac:chgData name="Stina Ru" userId="a298bcda0a73aae4" providerId="LiveId" clId="{97244F52-1F38-4BEB-835B-33F79644F174}" dt="2022-12-20T09:33:39.159" v="3882" actId="1076"/>
          <ac:spMkLst>
            <pc:docMk/>
            <pc:sldMk cId="3900407678" sldId="1225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20T11:36:04.441" v="6608" actId="1076"/>
          <ac:spMkLst>
            <pc:docMk/>
            <pc:sldMk cId="3900407678" sldId="1225"/>
            <ac:spMk id="3" creationId="{62E373E2-E479-4B85-B011-875D0EA60F4A}"/>
          </ac:spMkLst>
        </pc:spChg>
        <pc:spChg chg="del">
          <ac:chgData name="Stina Ru" userId="a298bcda0a73aae4" providerId="LiveId" clId="{97244F52-1F38-4BEB-835B-33F79644F174}" dt="2022-12-20T09:28:43.839" v="3577" actId="478"/>
          <ac:spMkLst>
            <pc:docMk/>
            <pc:sldMk cId="3900407678" sldId="1225"/>
            <ac:spMk id="6" creationId="{7CCB5B4B-2E94-9862-B5E3-881048B96187}"/>
          </ac:spMkLst>
        </pc:spChg>
        <pc:spChg chg="del">
          <ac:chgData name="Stina Ru" userId="a298bcda0a73aae4" providerId="LiveId" clId="{97244F52-1F38-4BEB-835B-33F79644F174}" dt="2022-12-20T09:28:45.024" v="3578" actId="478"/>
          <ac:spMkLst>
            <pc:docMk/>
            <pc:sldMk cId="3900407678" sldId="1225"/>
            <ac:spMk id="7" creationId="{7EED6A64-6756-E2F0-B24C-EDE5CEEA7831}"/>
          </ac:spMkLst>
        </pc:spChg>
        <pc:spChg chg="del">
          <ac:chgData name="Stina Ru" userId="a298bcda0a73aae4" providerId="LiveId" clId="{97244F52-1F38-4BEB-835B-33F79644F174}" dt="2022-12-20T09:28:46.783" v="3579" actId="478"/>
          <ac:spMkLst>
            <pc:docMk/>
            <pc:sldMk cId="3900407678" sldId="1225"/>
            <ac:spMk id="8" creationId="{DAF0B561-560D-CB38-9C8E-872B9D31B76D}"/>
          </ac:spMkLst>
        </pc:spChg>
        <pc:spChg chg="del">
          <ac:chgData name="Stina Ru" userId="a298bcda0a73aae4" providerId="LiveId" clId="{97244F52-1F38-4BEB-835B-33F79644F174}" dt="2022-12-20T09:28:49.197" v="3581" actId="478"/>
          <ac:spMkLst>
            <pc:docMk/>
            <pc:sldMk cId="3900407678" sldId="1225"/>
            <ac:spMk id="9" creationId="{066DA4AB-62CB-A0C2-60B4-6CBE6F91AF94}"/>
          </ac:spMkLst>
        </pc:spChg>
        <pc:spChg chg="del">
          <ac:chgData name="Stina Ru" userId="a298bcda0a73aae4" providerId="LiveId" clId="{97244F52-1F38-4BEB-835B-33F79644F174}" dt="2022-12-20T09:28:48.374" v="3580" actId="478"/>
          <ac:spMkLst>
            <pc:docMk/>
            <pc:sldMk cId="3900407678" sldId="1225"/>
            <ac:spMk id="12" creationId="{25F7C6C4-DE77-BBD5-CF8B-FF57B3090D06}"/>
          </ac:spMkLst>
        </pc:spChg>
        <pc:graphicFrameChg chg="add del mod">
          <ac:chgData name="Stina Ru" userId="a298bcda0a73aae4" providerId="LiveId" clId="{97244F52-1F38-4BEB-835B-33F79644F174}" dt="2022-12-20T09:26:58.761" v="3443" actId="478"/>
          <ac:graphicFrameMkLst>
            <pc:docMk/>
            <pc:sldMk cId="3900407678" sldId="1225"/>
            <ac:graphicFrameMk id="10" creationId="{6DBC1A80-C442-B855-D59B-6D63A3CFD4E5}"/>
          </ac:graphicFrameMkLst>
        </pc:graphicFrameChg>
      </pc:sldChg>
      <pc:sldChg chg="modSp add mod modAnim">
        <pc:chgData name="Stina Ru" userId="a298bcda0a73aae4" providerId="LiveId" clId="{97244F52-1F38-4BEB-835B-33F79644F174}" dt="2022-12-21T09:04:11.814" v="6836" actId="14100"/>
        <pc:sldMkLst>
          <pc:docMk/>
          <pc:sldMk cId="1042270346" sldId="1226"/>
        </pc:sldMkLst>
        <pc:spChg chg="mod">
          <ac:chgData name="Stina Ru" userId="a298bcda0a73aae4" providerId="LiveId" clId="{97244F52-1F38-4BEB-835B-33F79644F174}" dt="2022-12-20T11:07:47.119" v="6120" actId="1076"/>
          <ac:spMkLst>
            <pc:docMk/>
            <pc:sldMk cId="1042270346" sldId="1226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21T09:04:11.814" v="6836" actId="14100"/>
          <ac:spMkLst>
            <pc:docMk/>
            <pc:sldMk cId="1042270346" sldId="1226"/>
            <ac:spMk id="3" creationId="{62E373E2-E479-4B85-B011-875D0EA60F4A}"/>
          </ac:spMkLst>
        </pc:spChg>
      </pc:sldChg>
      <pc:sldChg chg="addSp delSp modSp add del mod modAnim">
        <pc:chgData name="Stina Ru" userId="a298bcda0a73aae4" providerId="LiveId" clId="{97244F52-1F38-4BEB-835B-33F79644F174}" dt="2022-12-20T10:33:17.892" v="5461" actId="47"/>
        <pc:sldMkLst>
          <pc:docMk/>
          <pc:sldMk cId="1730746404" sldId="1227"/>
        </pc:sldMkLst>
        <pc:spChg chg="mod">
          <ac:chgData name="Stina Ru" userId="a298bcda0a73aae4" providerId="LiveId" clId="{97244F52-1F38-4BEB-835B-33F79644F174}" dt="2022-12-20T10:29:38.573" v="5361" actId="1076"/>
          <ac:spMkLst>
            <pc:docMk/>
            <pc:sldMk cId="1730746404" sldId="1227"/>
            <ac:spMk id="2" creationId="{2E8E55A0-73B3-4565-BA58-ACE5F64229D6}"/>
          </ac:spMkLst>
        </pc:spChg>
        <pc:spChg chg="mod">
          <ac:chgData name="Stina Ru" userId="a298bcda0a73aae4" providerId="LiveId" clId="{97244F52-1F38-4BEB-835B-33F79644F174}" dt="2022-12-20T10:29:31.871" v="5359" actId="1076"/>
          <ac:spMkLst>
            <pc:docMk/>
            <pc:sldMk cId="1730746404" sldId="1227"/>
            <ac:spMk id="3" creationId="{62E373E2-E479-4B85-B011-875D0EA60F4A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6" creationId="{F7C53C1E-063D-AF56-9B9A-BDC55A228B18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7" creationId="{B629A9AB-1552-28CD-AD72-3C9E307E67AE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8" creationId="{2B126082-4AD8-E9A4-CDCD-131C0FA7592D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9" creationId="{B9581AC2-C735-985D-9CD7-45CDAFFB50CD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11" creationId="{93BD425B-A042-9969-E9B4-307DF03F097A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12" creationId="{1F58DB1F-8F06-68D5-FD7A-15F30538C406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3" creationId="{4EC31CD6-0137-8101-FB61-522B4F10A021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4" creationId="{6FC86EC5-1A38-86F3-6F82-9FAC07FEC88E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5" creationId="{603589B2-D39F-3554-8A14-CBB46ECB8D49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6" creationId="{1850FEB4-D12A-7BC7-0E2A-6EE568872016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7" creationId="{CCE68894-F885-C4CD-84D4-3AEE6CE4B3BB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8" creationId="{1143F4B2-7BF9-2592-0FFE-BD730F21602D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19" creationId="{9ACA2907-82C6-EAC5-13B3-A9B299CD4CA8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0" creationId="{8BEF4234-6CB9-3F42-F4F8-1E71F5940166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1" creationId="{62F6627C-C735-DA74-FF56-61C0883849B3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2" creationId="{8E718880-22D4-C6CB-5EA2-EC6AB9C91595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3" creationId="{FFC5EF43-9DC4-B0BA-5B50-750A64968555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4" creationId="{965E3733-AF35-0F47-A34B-93D83E2C2B64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5" creationId="{2652E4C7-A569-9627-FBC1-84C016919F9F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6" creationId="{A9BA3783-70D5-E19E-D3D6-8E1DE7F88476}"/>
          </ac:spMkLst>
        </pc:spChg>
        <pc:spChg chg="add del mod">
          <ac:chgData name="Stina Ru" userId="a298bcda0a73aae4" providerId="LiveId" clId="{97244F52-1F38-4BEB-835B-33F79644F174}" dt="2022-12-20T10:32:21.641" v="5364"/>
          <ac:spMkLst>
            <pc:docMk/>
            <pc:sldMk cId="1730746404" sldId="1227"/>
            <ac:spMk id="27" creationId="{2E51FEEF-CC58-B660-8057-9896355E2668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29" creationId="{64DEB6E3-E353-3C90-B948-300C3F5B45D1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30" creationId="{84D19FF6-D163-93C6-B245-487DE18A7D5D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33" creationId="{DAC79AD5-5D32-D909-F7D3-8A7FAA7F06D3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34" creationId="{ADFD0C5A-8104-0D89-0F6A-27FD219AEDD7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36" creationId="{590F38A8-8598-E28B-E2EB-CCF10A05FA39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37" creationId="{0A60BF95-414D-AAE6-29A4-584043AC776E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39" creationId="{994555EA-E4BD-038D-C605-6986B571191D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40" creationId="{ADCAF8A0-E5A4-DB03-1A1D-57FB5BAFC2BE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45" creationId="{E550F8E7-EF92-D630-FC89-0E5AE85C036B}"/>
          </ac:spMkLst>
        </pc:spChg>
        <pc:spChg chg="mod">
          <ac:chgData name="Stina Ru" userId="a298bcda0a73aae4" providerId="LiveId" clId="{97244F52-1F38-4BEB-835B-33F79644F174}" dt="2022-12-20T10:32:19.737" v="5363"/>
          <ac:spMkLst>
            <pc:docMk/>
            <pc:sldMk cId="1730746404" sldId="1227"/>
            <ac:spMk id="46" creationId="{C3562524-6BC3-F066-551F-357256A8CCDB}"/>
          </ac:spMkLst>
        </pc:spChg>
        <pc:grpChg chg="add del mod">
          <ac:chgData name="Stina Ru" userId="a298bcda0a73aae4" providerId="LiveId" clId="{97244F52-1F38-4BEB-835B-33F79644F174}" dt="2022-12-20T10:32:21.641" v="5364"/>
          <ac:grpSpMkLst>
            <pc:docMk/>
            <pc:sldMk cId="1730746404" sldId="1227"/>
            <ac:grpSpMk id="10" creationId="{18C22DBA-CF64-5091-CFE5-17CFCD00D437}"/>
          </ac:grpSpMkLst>
        </pc:grpChg>
        <pc:grpChg chg="add del mod">
          <ac:chgData name="Stina Ru" userId="a298bcda0a73aae4" providerId="LiveId" clId="{97244F52-1F38-4BEB-835B-33F79644F174}" dt="2022-12-20T10:32:21.641" v="5364"/>
          <ac:grpSpMkLst>
            <pc:docMk/>
            <pc:sldMk cId="1730746404" sldId="1227"/>
            <ac:grpSpMk id="28" creationId="{8099E7F9-2B91-B3A0-0797-778C3CF13528}"/>
          </ac:grpSpMkLst>
        </pc:grpChg>
        <pc:grpChg chg="add del mod">
          <ac:chgData name="Stina Ru" userId="a298bcda0a73aae4" providerId="LiveId" clId="{97244F52-1F38-4BEB-835B-33F79644F174}" dt="2022-12-20T10:32:21.641" v="5364"/>
          <ac:grpSpMkLst>
            <pc:docMk/>
            <pc:sldMk cId="1730746404" sldId="1227"/>
            <ac:grpSpMk id="32" creationId="{7D7BBD2A-EEF1-11C4-398A-24AF575638E8}"/>
          </ac:grpSpMkLst>
        </pc:grpChg>
        <pc:grpChg chg="add del mod">
          <ac:chgData name="Stina Ru" userId="a298bcda0a73aae4" providerId="LiveId" clId="{97244F52-1F38-4BEB-835B-33F79644F174}" dt="2022-12-20T10:32:21.641" v="5364"/>
          <ac:grpSpMkLst>
            <pc:docMk/>
            <pc:sldMk cId="1730746404" sldId="1227"/>
            <ac:grpSpMk id="35" creationId="{C788E545-4017-68E5-E9ED-765CBE10BC0E}"/>
          </ac:grpSpMkLst>
        </pc:grpChg>
        <pc:grpChg chg="add del mod">
          <ac:chgData name="Stina Ru" userId="a298bcda0a73aae4" providerId="LiveId" clId="{97244F52-1F38-4BEB-835B-33F79644F174}" dt="2022-12-20T10:32:21.641" v="5364"/>
          <ac:grpSpMkLst>
            <pc:docMk/>
            <pc:sldMk cId="1730746404" sldId="1227"/>
            <ac:grpSpMk id="38" creationId="{B20EFC89-A35B-D878-29B0-446823725297}"/>
          </ac:grpSpMkLst>
        </pc:grpChg>
        <pc:grpChg chg="add del mod">
          <ac:chgData name="Stina Ru" userId="a298bcda0a73aae4" providerId="LiveId" clId="{97244F52-1F38-4BEB-835B-33F79644F174}" dt="2022-12-20T10:32:21.641" v="5364"/>
          <ac:grpSpMkLst>
            <pc:docMk/>
            <pc:sldMk cId="1730746404" sldId="1227"/>
            <ac:grpSpMk id="44" creationId="{592C3E72-3163-A1FB-7ADC-E629E290D2CF}"/>
          </ac:grpSpMkLst>
        </pc:grpChg>
        <pc:picChg chg="add del mod">
          <ac:chgData name="Stina Ru" userId="a298bcda0a73aae4" providerId="LiveId" clId="{97244F52-1F38-4BEB-835B-33F79644F174}" dt="2022-12-20T10:32:21.641" v="5364"/>
          <ac:picMkLst>
            <pc:docMk/>
            <pc:sldMk cId="1730746404" sldId="1227"/>
            <ac:picMk id="31" creationId="{61ED2E9C-12BA-73CF-4F3D-B96120EB484B}"/>
          </ac:picMkLst>
        </pc:picChg>
        <pc:picChg chg="add del mod">
          <ac:chgData name="Stina Ru" userId="a298bcda0a73aae4" providerId="LiveId" clId="{97244F52-1F38-4BEB-835B-33F79644F174}" dt="2022-12-20T10:32:21.641" v="5364"/>
          <ac:picMkLst>
            <pc:docMk/>
            <pc:sldMk cId="1730746404" sldId="1227"/>
            <ac:picMk id="41" creationId="{3CE36EC2-8461-F800-07CC-F4FE047CAB2E}"/>
          </ac:picMkLst>
        </pc:picChg>
        <pc:picChg chg="add del mod">
          <ac:chgData name="Stina Ru" userId="a298bcda0a73aae4" providerId="LiveId" clId="{97244F52-1F38-4BEB-835B-33F79644F174}" dt="2022-12-20T10:32:21.641" v="5364"/>
          <ac:picMkLst>
            <pc:docMk/>
            <pc:sldMk cId="1730746404" sldId="1227"/>
            <ac:picMk id="42" creationId="{E71720A8-67DB-D4E4-B0F4-5DCEA5790B3D}"/>
          </ac:picMkLst>
        </pc:picChg>
        <pc:picChg chg="add del mod">
          <ac:chgData name="Stina Ru" userId="a298bcda0a73aae4" providerId="LiveId" clId="{97244F52-1F38-4BEB-835B-33F79644F174}" dt="2022-12-20T10:32:21.641" v="5364"/>
          <ac:picMkLst>
            <pc:docMk/>
            <pc:sldMk cId="1730746404" sldId="1227"/>
            <ac:picMk id="43" creationId="{4246E552-7010-6381-A6A9-AAA57D25D18F}"/>
          </ac:picMkLst>
        </pc:picChg>
      </pc:sldChg>
      <pc:sldChg chg="addSp delSp modSp add mod addAnim delAnim modAnim">
        <pc:chgData name="Stina Ru" userId="a298bcda0a73aae4" providerId="LiveId" clId="{97244F52-1F38-4BEB-835B-33F79644F174}" dt="2022-12-21T14:14:52.779" v="7441" actId="113"/>
        <pc:sldMkLst>
          <pc:docMk/>
          <pc:sldMk cId="265817022" sldId="1228"/>
        </pc:sldMkLst>
        <pc:spChg chg="mod">
          <ac:chgData name="Stina Ru" userId="a298bcda0a73aae4" providerId="LiveId" clId="{97244F52-1F38-4BEB-835B-33F79644F174}" dt="2022-12-20T11:21:31.603" v="6231" actId="1076"/>
          <ac:spMkLst>
            <pc:docMk/>
            <pc:sldMk cId="265817022" sldId="1228"/>
            <ac:spMk id="2" creationId="{00000000-0000-0000-0000-000000000000}"/>
          </ac:spMkLst>
        </pc:spChg>
        <pc:spChg chg="add del mod">
          <ac:chgData name="Stina Ru" userId="a298bcda0a73aae4" providerId="LiveId" clId="{97244F52-1F38-4BEB-835B-33F79644F174}" dt="2022-12-21T14:14:52.779" v="7441" actId="113"/>
          <ac:spMkLst>
            <pc:docMk/>
            <pc:sldMk cId="265817022" sldId="1228"/>
            <ac:spMk id="3" creationId="{00000000-0000-0000-0000-000000000000}"/>
          </ac:spMkLst>
        </pc:spChg>
        <pc:spChg chg="del mod">
          <ac:chgData name="Stina Ru" userId="a298bcda0a73aae4" providerId="LiveId" clId="{97244F52-1F38-4BEB-835B-33F79644F174}" dt="2022-12-20T11:18:04.915" v="6201" actId="478"/>
          <ac:spMkLst>
            <pc:docMk/>
            <pc:sldMk cId="265817022" sldId="1228"/>
            <ac:spMk id="4" creationId="{00000000-0000-0000-0000-000000000000}"/>
          </ac:spMkLst>
        </pc:spChg>
        <pc:spChg chg="del mod">
          <ac:chgData name="Stina Ru" userId="a298bcda0a73aae4" providerId="LiveId" clId="{97244F52-1F38-4BEB-835B-33F79644F174}" dt="2022-12-20T11:18:05.747" v="6202" actId="478"/>
          <ac:spMkLst>
            <pc:docMk/>
            <pc:sldMk cId="265817022" sldId="1228"/>
            <ac:spMk id="5" creationId="{00000000-0000-0000-0000-000000000000}"/>
          </ac:spMkLst>
        </pc:spChg>
        <pc:spChg chg="del mod">
          <ac:chgData name="Stina Ru" userId="a298bcda0a73aae4" providerId="LiveId" clId="{97244F52-1F38-4BEB-835B-33F79644F174}" dt="2022-12-20T11:18:06.454" v="6203" actId="478"/>
          <ac:spMkLst>
            <pc:docMk/>
            <pc:sldMk cId="265817022" sldId="1228"/>
            <ac:spMk id="6" creationId="{00000000-0000-0000-0000-000000000000}"/>
          </ac:spMkLst>
        </pc:spChg>
        <pc:spChg chg="mod">
          <ac:chgData name="Stina Ru" userId="a298bcda0a73aae4" providerId="LiveId" clId="{97244F52-1F38-4BEB-835B-33F79644F174}" dt="2022-12-20T11:03:04.629" v="5851" actId="1076"/>
          <ac:spMkLst>
            <pc:docMk/>
            <pc:sldMk cId="265817022" sldId="1228"/>
            <ac:spMk id="7" creationId="{00000000-0000-0000-0000-000000000000}"/>
          </ac:spMkLst>
        </pc:spChg>
        <pc:spChg chg="mod">
          <ac:chgData name="Stina Ru" userId="a298bcda0a73aae4" providerId="LiveId" clId="{97244F52-1F38-4BEB-835B-33F79644F174}" dt="2022-12-20T11:21:20.676" v="6229" actId="1076"/>
          <ac:spMkLst>
            <pc:docMk/>
            <pc:sldMk cId="265817022" sldId="1228"/>
            <ac:spMk id="8" creationId="{00000000-0000-0000-0000-000000000000}"/>
          </ac:spMkLst>
        </pc:spChg>
        <pc:spChg chg="mod">
          <ac:chgData name="Stina Ru" userId="a298bcda0a73aae4" providerId="LiveId" clId="{97244F52-1F38-4BEB-835B-33F79644F174}" dt="2022-12-20T10:54:46.812" v="5712" actId="1076"/>
          <ac:spMkLst>
            <pc:docMk/>
            <pc:sldMk cId="265817022" sldId="1228"/>
            <ac:spMk id="9" creationId="{00000000-0000-0000-0000-000000000000}"/>
          </ac:spMkLst>
        </pc:spChg>
        <pc:spChg chg="mod">
          <ac:chgData name="Stina Ru" userId="a298bcda0a73aae4" providerId="LiveId" clId="{97244F52-1F38-4BEB-835B-33F79644F174}" dt="2022-12-20T10:54:43.111" v="5711" actId="20577"/>
          <ac:spMkLst>
            <pc:docMk/>
            <pc:sldMk cId="265817022" sldId="1228"/>
            <ac:spMk id="10" creationId="{00000000-0000-0000-0000-000000000000}"/>
          </ac:spMkLst>
        </pc:spChg>
        <pc:spChg chg="add mod">
          <ac:chgData name="Stina Ru" userId="a298bcda0a73aae4" providerId="LiveId" clId="{97244F52-1F38-4BEB-835B-33F79644F174}" dt="2022-12-20T10:32:44.644" v="5368"/>
          <ac:spMkLst>
            <pc:docMk/>
            <pc:sldMk cId="265817022" sldId="1228"/>
            <ac:spMk id="11" creationId="{142BDF1C-A4C1-5D0D-8817-899B95F76D81}"/>
          </ac:spMkLst>
        </pc:spChg>
        <pc:spChg chg="add mod">
          <ac:chgData name="Stina Ru" userId="a298bcda0a73aae4" providerId="LiveId" clId="{97244F52-1F38-4BEB-835B-33F79644F174}" dt="2022-12-20T10:33:24.426" v="5462"/>
          <ac:spMkLst>
            <pc:docMk/>
            <pc:sldMk cId="265817022" sldId="1228"/>
            <ac:spMk id="13" creationId="{8FF25E40-04D3-C5D9-B3F6-48AD1C9FAAEB}"/>
          </ac:spMkLst>
        </pc:spChg>
        <pc:spChg chg="mod">
          <ac:chgData name="Stina Ru" userId="a298bcda0a73aae4" providerId="LiveId" clId="{97244F52-1F38-4BEB-835B-33F79644F174}" dt="2022-12-20T10:57:24.813" v="5835" actId="1076"/>
          <ac:spMkLst>
            <pc:docMk/>
            <pc:sldMk cId="265817022" sldId="1228"/>
            <ac:spMk id="32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24.813" v="5835" actId="1076"/>
          <ac:spMkLst>
            <pc:docMk/>
            <pc:sldMk cId="265817022" sldId="1228"/>
            <ac:spMk id="33" creationId="{00000000-0000-0000-0000-000000000000}"/>
          </ac:spMkLst>
        </pc:spChg>
        <pc:spChg chg="del mod">
          <ac:chgData name="Stina Ru" userId="a298bcda0a73aae4" providerId="LiveId" clId="{97244F52-1F38-4BEB-835B-33F79644F174}" dt="2022-12-20T10:56:18.171" v="5822" actId="478"/>
          <ac:spMkLst>
            <pc:docMk/>
            <pc:sldMk cId="265817022" sldId="1228"/>
            <ac:spMk id="34" creationId="{00000000-0000-0000-0000-000000000000}"/>
          </ac:spMkLst>
        </pc:spChg>
        <pc:spChg chg="del mod">
          <ac:chgData name="Stina Ru" userId="a298bcda0a73aae4" providerId="LiveId" clId="{97244F52-1F38-4BEB-835B-33F79644F174}" dt="2022-12-20T11:18:07.153" v="6204" actId="478"/>
          <ac:spMkLst>
            <pc:docMk/>
            <pc:sldMk cId="265817022" sldId="1228"/>
            <ac:spMk id="35" creationId="{00000000-0000-0000-0000-000000000000}"/>
          </ac:spMkLst>
        </pc:spChg>
        <pc:spChg chg="mod">
          <ac:chgData name="Stina Ru" userId="a298bcda0a73aae4" providerId="LiveId" clId="{97244F52-1F38-4BEB-835B-33F79644F174}" dt="2022-12-20T11:10:23.594" v="6200" actId="20577"/>
          <ac:spMkLst>
            <pc:docMk/>
            <pc:sldMk cId="265817022" sldId="1228"/>
            <ac:spMk id="36" creationId="{00000000-0000-0000-0000-000000000000}"/>
          </ac:spMkLst>
        </pc:spChg>
        <pc:spChg chg="del">
          <ac:chgData name="Stina Ru" userId="a298bcda0a73aae4" providerId="LiveId" clId="{97244F52-1F38-4BEB-835B-33F79644F174}" dt="2022-12-20T10:56:08.957" v="5816" actId="478"/>
          <ac:spMkLst>
            <pc:docMk/>
            <pc:sldMk cId="265817022" sldId="1228"/>
            <ac:spMk id="37" creationId="{00000000-0000-0000-0000-000000000000}"/>
          </ac:spMkLst>
        </pc:spChg>
        <pc:spChg chg="del">
          <ac:chgData name="Stina Ru" userId="a298bcda0a73aae4" providerId="LiveId" clId="{97244F52-1F38-4BEB-835B-33F79644F174}" dt="2022-12-20T10:56:13.759" v="5819" actId="478"/>
          <ac:spMkLst>
            <pc:docMk/>
            <pc:sldMk cId="265817022" sldId="1228"/>
            <ac:spMk id="38" creationId="{00000000-0000-0000-0000-000000000000}"/>
          </ac:spMkLst>
        </pc:spChg>
        <pc:spChg chg="del">
          <ac:chgData name="Stina Ru" userId="a298bcda0a73aae4" providerId="LiveId" clId="{97244F52-1F38-4BEB-835B-33F79644F174}" dt="2022-12-20T10:56:12.875" v="5818" actId="478"/>
          <ac:spMkLst>
            <pc:docMk/>
            <pc:sldMk cId="265817022" sldId="1228"/>
            <ac:spMk id="39" creationId="{00000000-0000-0000-0000-000000000000}"/>
          </ac:spMkLst>
        </pc:spChg>
        <pc:spChg chg="del">
          <ac:chgData name="Stina Ru" userId="a298bcda0a73aae4" providerId="LiveId" clId="{97244F52-1F38-4BEB-835B-33F79644F174}" dt="2022-12-20T10:56:11.146" v="5817" actId="478"/>
          <ac:spMkLst>
            <pc:docMk/>
            <pc:sldMk cId="265817022" sldId="1228"/>
            <ac:spMk id="40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18.941" v="5833" actId="1076"/>
          <ac:spMkLst>
            <pc:docMk/>
            <pc:sldMk cId="265817022" sldId="1228"/>
            <ac:spMk id="43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18.941" v="5833" actId="1076"/>
          <ac:spMkLst>
            <pc:docMk/>
            <pc:sldMk cId="265817022" sldId="1228"/>
            <ac:spMk id="44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22.726" v="5834" actId="1076"/>
          <ac:spMkLst>
            <pc:docMk/>
            <pc:sldMk cId="265817022" sldId="1228"/>
            <ac:spMk id="56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22.726" v="5834" actId="1076"/>
          <ac:spMkLst>
            <pc:docMk/>
            <pc:sldMk cId="265817022" sldId="1228"/>
            <ac:spMk id="57" creationId="{00000000-0000-0000-0000-000000000000}"/>
          </ac:spMkLst>
        </pc:spChg>
        <pc:spChg chg="mod">
          <ac:chgData name="Stina Ru" userId="a298bcda0a73aae4" providerId="LiveId" clId="{97244F52-1F38-4BEB-835B-33F79644F174}" dt="2022-12-20T10:56:39.389" v="5829" actId="1076"/>
          <ac:spMkLst>
            <pc:docMk/>
            <pc:sldMk cId="265817022" sldId="1228"/>
            <ac:spMk id="59" creationId="{00000000-0000-0000-0000-000000000000}"/>
          </ac:spMkLst>
        </pc:spChg>
        <pc:spChg chg="mod">
          <ac:chgData name="Stina Ru" userId="a298bcda0a73aae4" providerId="LiveId" clId="{97244F52-1F38-4BEB-835B-33F79644F174}" dt="2022-12-20T10:56:39.389" v="5829" actId="1076"/>
          <ac:spMkLst>
            <pc:docMk/>
            <pc:sldMk cId="265817022" sldId="1228"/>
            <ac:spMk id="60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06.176" v="5832" actId="1076"/>
          <ac:spMkLst>
            <pc:docMk/>
            <pc:sldMk cId="265817022" sldId="1228"/>
            <ac:spMk id="62" creationId="{00000000-0000-0000-0000-000000000000}"/>
          </ac:spMkLst>
        </pc:spChg>
        <pc:spChg chg="mod">
          <ac:chgData name="Stina Ru" userId="a298bcda0a73aae4" providerId="LiveId" clId="{97244F52-1F38-4BEB-835B-33F79644F174}" dt="2022-12-20T10:57:06.176" v="5832" actId="1076"/>
          <ac:spMkLst>
            <pc:docMk/>
            <pc:sldMk cId="265817022" sldId="1228"/>
            <ac:spMk id="63" creationId="{00000000-0000-0000-0000-000000000000}"/>
          </ac:spMkLst>
        </pc:spChg>
        <pc:grpChg chg="del">
          <ac:chgData name="Stina Ru" userId="a298bcda0a73aae4" providerId="LiveId" clId="{97244F52-1F38-4BEB-835B-33F79644F174}" dt="2022-12-20T10:36:05.220" v="5661" actId="478"/>
          <ac:grpSpMkLst>
            <pc:docMk/>
            <pc:sldMk cId="265817022" sldId="1228"/>
            <ac:grpSpMk id="12" creationId="{00000000-0000-0000-0000-000000000000}"/>
          </ac:grpSpMkLst>
        </pc:grpChg>
        <pc:grpChg chg="mod">
          <ac:chgData name="Stina Ru" userId="a298bcda0a73aae4" providerId="LiveId" clId="{97244F52-1F38-4BEB-835B-33F79644F174}" dt="2022-12-20T10:57:24.813" v="5835" actId="1076"/>
          <ac:grpSpMkLst>
            <pc:docMk/>
            <pc:sldMk cId="265817022" sldId="1228"/>
            <ac:grpSpMk id="31" creationId="{00000000-0000-0000-0000-000000000000}"/>
          </ac:grpSpMkLst>
        </pc:grpChg>
        <pc:grpChg chg="del mod">
          <ac:chgData name="Stina Ru" userId="a298bcda0a73aae4" providerId="LiveId" clId="{97244F52-1F38-4BEB-835B-33F79644F174}" dt="2022-12-20T11:18:12.637" v="6208" actId="478"/>
          <ac:grpSpMkLst>
            <pc:docMk/>
            <pc:sldMk cId="265817022" sldId="1228"/>
            <ac:grpSpMk id="42" creationId="{00000000-0000-0000-0000-000000000000}"/>
          </ac:grpSpMkLst>
        </pc:grpChg>
        <pc:grpChg chg="del mod">
          <ac:chgData name="Stina Ru" userId="a298bcda0a73aae4" providerId="LiveId" clId="{97244F52-1F38-4BEB-835B-33F79644F174}" dt="2022-12-20T11:18:09.684" v="6205" actId="478"/>
          <ac:grpSpMkLst>
            <pc:docMk/>
            <pc:sldMk cId="265817022" sldId="1228"/>
            <ac:grpSpMk id="55" creationId="{00000000-0000-0000-0000-000000000000}"/>
          </ac:grpSpMkLst>
        </pc:grpChg>
        <pc:grpChg chg="del mod">
          <ac:chgData name="Stina Ru" userId="a298bcda0a73aae4" providerId="LiveId" clId="{97244F52-1F38-4BEB-835B-33F79644F174}" dt="2022-12-20T11:18:10.707" v="6206" actId="478"/>
          <ac:grpSpMkLst>
            <pc:docMk/>
            <pc:sldMk cId="265817022" sldId="1228"/>
            <ac:grpSpMk id="58" creationId="{00000000-0000-0000-0000-000000000000}"/>
          </ac:grpSpMkLst>
        </pc:grpChg>
        <pc:grpChg chg="del mod">
          <ac:chgData name="Stina Ru" userId="a298bcda0a73aae4" providerId="LiveId" clId="{97244F52-1F38-4BEB-835B-33F79644F174}" dt="2022-12-20T11:18:11.709" v="6207" actId="478"/>
          <ac:grpSpMkLst>
            <pc:docMk/>
            <pc:sldMk cId="265817022" sldId="1228"/>
            <ac:grpSpMk id="61" creationId="{00000000-0000-0000-0000-000000000000}"/>
          </ac:grpSpMkLst>
        </pc:grpChg>
        <pc:picChg chg="del">
          <ac:chgData name="Stina Ru" userId="a298bcda0a73aae4" providerId="LiveId" clId="{97244F52-1F38-4BEB-835B-33F79644F174}" dt="2022-12-20T10:35:36.720" v="5600" actId="478"/>
          <ac:picMkLst>
            <pc:docMk/>
            <pc:sldMk cId="265817022" sldId="1228"/>
            <ac:picMk id="54" creationId="{00000000-0000-0000-0000-000000000000}"/>
          </ac:picMkLst>
        </pc:picChg>
        <pc:picChg chg="del">
          <ac:chgData name="Stina Ru" userId="a298bcda0a73aae4" providerId="LiveId" clId="{97244F52-1F38-4BEB-835B-33F79644F174}" dt="2022-12-20T10:35:52.898" v="5637" actId="478"/>
          <ac:picMkLst>
            <pc:docMk/>
            <pc:sldMk cId="265817022" sldId="1228"/>
            <ac:picMk id="65" creationId="{00000000-0000-0000-0000-000000000000}"/>
          </ac:picMkLst>
        </pc:picChg>
        <pc:picChg chg="del">
          <ac:chgData name="Stina Ru" userId="a298bcda0a73aae4" providerId="LiveId" clId="{97244F52-1F38-4BEB-835B-33F79644F174}" dt="2022-12-20T10:34:05.979" v="5553" actId="478"/>
          <ac:picMkLst>
            <pc:docMk/>
            <pc:sldMk cId="265817022" sldId="1228"/>
            <ac:picMk id="66" creationId="{00000000-0000-0000-0000-000000000000}"/>
          </ac:picMkLst>
        </pc:picChg>
        <pc:picChg chg="del">
          <ac:chgData name="Stina Ru" userId="a298bcda0a73aae4" providerId="LiveId" clId="{97244F52-1F38-4BEB-835B-33F79644F174}" dt="2022-12-20T10:33:48.423" v="5504" actId="478"/>
          <ac:picMkLst>
            <pc:docMk/>
            <pc:sldMk cId="265817022" sldId="1228"/>
            <ac:picMk id="67" creationId="{00000000-0000-0000-0000-000000000000}"/>
          </ac:picMkLst>
        </pc:picChg>
      </pc:sldChg>
      <pc:sldChg chg="add del">
        <pc:chgData name="Stina Ru" userId="a298bcda0a73aae4" providerId="LiveId" clId="{97244F52-1F38-4BEB-835B-33F79644F174}" dt="2022-12-20T10:32:38.624" v="5367"/>
        <pc:sldMkLst>
          <pc:docMk/>
          <pc:sldMk cId="2250449649" sldId="122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7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616525" cy="747193"/>
          </a:xfrm>
        </p:spPr>
        <p:txBody>
          <a:bodyPr anchor="t">
            <a:normAutofit fontScale="90000"/>
          </a:bodyPr>
          <a:lstStyle/>
          <a:p>
            <a:r>
              <a:rPr lang="de-DE" sz="3300" dirty="0"/>
              <a:t>Tutorium zur VL. Sitzung </a:t>
            </a:r>
            <a:r>
              <a:rPr lang="de-DE" sz="3300"/>
              <a:t>(Teil 14  </a:t>
            </a:r>
            <a:r>
              <a:rPr lang="de-DE" sz="3300" dirty="0"/>
              <a:t>2 und 3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Demographie: Altersstruktur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03616"/>
            <a:ext cx="5256111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Altersaufbau nach </a:t>
            </a:r>
            <a:r>
              <a:rPr lang="de-DE" sz="1800" b="0" dirty="0">
                <a:solidFill>
                  <a:schemeClr val="accent2"/>
                </a:solidFill>
              </a:rPr>
              <a:t>einschneidenden Ereigniss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ltersaufbau durch Ereignisse beeinfluss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Beispiel: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burtenausfälle während Weltwirtschaftskris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burtenausfälle während beider Weltkrieg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burtenhoch in 1960/ 70er (Baby-Boom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burtenrückgang nach Wiedervereinigung in Ostdeutschland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Einschneidenden Ereignisse beeinflussen die zukünftige Demographie einer Gesellschaft </a:t>
            </a: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runtemund@.rub.de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8CDDF18-E867-302B-0EBD-58BDD23ED211}"/>
              </a:ext>
            </a:extLst>
          </p:cNvPr>
          <p:cNvCxnSpPr>
            <a:cxnSpLocks/>
          </p:cNvCxnSpPr>
          <p:nvPr/>
        </p:nvCxnSpPr>
        <p:spPr>
          <a:xfrm flipV="1">
            <a:off x="4390945" y="2145820"/>
            <a:ext cx="1354475" cy="66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0F008F65-4660-96CB-7FF8-3FEFF766A4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5420" y="167826"/>
            <a:ext cx="3174305" cy="4434335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292E88-F6A3-96D4-9964-7C3739F38113}"/>
              </a:ext>
            </a:extLst>
          </p:cNvPr>
          <p:cNvCxnSpPr>
            <a:cxnSpLocks/>
          </p:cNvCxnSpPr>
          <p:nvPr/>
        </p:nvCxnSpPr>
        <p:spPr>
          <a:xfrm>
            <a:off x="3995936" y="3242964"/>
            <a:ext cx="2016224" cy="319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62E1BAAC-9264-6300-9FB8-6E97A54D4212}"/>
              </a:ext>
            </a:extLst>
          </p:cNvPr>
          <p:cNvCxnSpPr>
            <a:cxnSpLocks/>
          </p:cNvCxnSpPr>
          <p:nvPr/>
        </p:nvCxnSpPr>
        <p:spPr>
          <a:xfrm flipV="1">
            <a:off x="3707904" y="1002121"/>
            <a:ext cx="2229225" cy="9938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5BBD2A5-A86C-5030-1A18-35C85B0C1619}"/>
              </a:ext>
            </a:extLst>
          </p:cNvPr>
          <p:cNvCxnSpPr>
            <a:cxnSpLocks/>
          </p:cNvCxnSpPr>
          <p:nvPr/>
        </p:nvCxnSpPr>
        <p:spPr>
          <a:xfrm flipV="1">
            <a:off x="3870000" y="1563638"/>
            <a:ext cx="2142160" cy="838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A241035B-1E3D-FAA3-6567-D9C183F8E275}"/>
              </a:ext>
            </a:extLst>
          </p:cNvPr>
          <p:cNvCxnSpPr>
            <a:cxnSpLocks/>
          </p:cNvCxnSpPr>
          <p:nvPr/>
        </p:nvCxnSpPr>
        <p:spPr>
          <a:xfrm flipV="1">
            <a:off x="3870000" y="668776"/>
            <a:ext cx="3006256" cy="1733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5398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Demographie: Altersstruktur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03616"/>
            <a:ext cx="5256111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Altersaufbau als </a:t>
            </a:r>
            <a:r>
              <a:rPr lang="de-DE" sz="1800" b="0" dirty="0">
                <a:solidFill>
                  <a:schemeClr val="accent2"/>
                </a:solidFill>
              </a:rPr>
              <a:t>Prognose für 2060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Annahme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Relativ niedriges Geburtenniveau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leichzeitig wachsende Lebenserwartung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1) Weitere </a:t>
            </a:r>
            <a:r>
              <a:rPr lang="de-DE" sz="1800" dirty="0">
                <a:sym typeface="Wingdings" panose="05000000000000000000" pitchFamily="2" charset="2"/>
              </a:rPr>
              <a:t>Alterung der Bevölkerung</a:t>
            </a: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Wachsende Zuwander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2) Migration kann </a:t>
            </a:r>
            <a:r>
              <a:rPr lang="de-DE" sz="1800" dirty="0">
                <a:sym typeface="Wingdings" panose="05000000000000000000" pitchFamily="2" charset="2"/>
              </a:rPr>
              <a:t>Alterungsprozess verlangsamen</a:t>
            </a:r>
            <a:r>
              <a:rPr lang="de-DE" sz="1800" b="0" dirty="0">
                <a:sym typeface="Wingdings" panose="05000000000000000000" pitchFamily="2" charset="2"/>
              </a:rPr>
              <a:t>, nicht aufhalten</a:t>
            </a: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runtemund@.rub.de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B1721EA-1FDA-C2A2-BD93-02C3679FB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7260" y="82188"/>
            <a:ext cx="3441426" cy="4347464"/>
          </a:xfrm>
          <a:prstGeom prst="rect">
            <a:avLst/>
          </a:prstGeom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E82E01FB-FD58-2A17-CEC2-3E01A929591A}"/>
              </a:ext>
            </a:extLst>
          </p:cNvPr>
          <p:cNvCxnSpPr>
            <a:cxnSpLocks/>
          </p:cNvCxnSpPr>
          <p:nvPr/>
        </p:nvCxnSpPr>
        <p:spPr>
          <a:xfrm>
            <a:off x="4067944" y="803616"/>
            <a:ext cx="26642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92414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Demographie: Altersstruktur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00773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Altersstruktur der </a:t>
            </a:r>
            <a:r>
              <a:rPr lang="de-DE" sz="1800" b="0" dirty="0">
                <a:solidFill>
                  <a:schemeClr val="accent2"/>
                </a:solidFill>
              </a:rPr>
              <a:t>deutschen Bevölker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Trend: verändertes Verhältnis der Altersgruppen zueinande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Ab 21. Jhd. Anteil 20-Jähriger unter 20 Prozent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i="1" dirty="0">
                <a:sym typeface="Wingdings" panose="05000000000000000000" pitchFamily="2" charset="2"/>
              </a:rPr>
              <a:t>„Herrschaft der Alten“</a:t>
            </a:r>
            <a:endParaRPr lang="de-DE" sz="1800" i="1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12AA0DC4-D2F3-396C-9CAC-30D45D7FD9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582515"/>
              </p:ext>
            </p:extLst>
          </p:nvPr>
        </p:nvGraphicFramePr>
        <p:xfrm>
          <a:off x="478029" y="1455162"/>
          <a:ext cx="8391975" cy="22331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7325">
                  <a:extLst>
                    <a:ext uri="{9D8B030D-6E8A-4147-A177-3AD203B41FA5}">
                      <a16:colId xmlns:a16="http://schemas.microsoft.com/office/drawing/2014/main" val="3003043814"/>
                    </a:ext>
                  </a:extLst>
                </a:gridCol>
                <a:gridCol w="2797325">
                  <a:extLst>
                    <a:ext uri="{9D8B030D-6E8A-4147-A177-3AD203B41FA5}">
                      <a16:colId xmlns:a16="http://schemas.microsoft.com/office/drawing/2014/main" val="3829264500"/>
                    </a:ext>
                  </a:extLst>
                </a:gridCol>
                <a:gridCol w="2797325">
                  <a:extLst>
                    <a:ext uri="{9D8B030D-6E8A-4147-A177-3AD203B41FA5}">
                      <a16:colId xmlns:a16="http://schemas.microsoft.com/office/drawing/2014/main" val="3838244869"/>
                    </a:ext>
                  </a:extLst>
                </a:gridCol>
              </a:tblGrid>
              <a:tr h="343416">
                <a:tc>
                  <a:txBody>
                    <a:bodyPr/>
                    <a:lstStyle/>
                    <a:p>
                      <a:r>
                        <a:rPr lang="de-DE" sz="1400" dirty="0"/>
                        <a:t>Zwei Indikato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Beispiele: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512566"/>
                  </a:ext>
                </a:extLst>
              </a:tr>
              <a:tr h="42905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sz="1400" dirty="0"/>
                        <a:t>1) </a:t>
                      </a:r>
                      <a:r>
                        <a:rPr lang="de-DE" sz="1400" b="1" dirty="0"/>
                        <a:t>Jugend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  <a:p>
                      <a:endParaRPr lang="de-DE" sz="1400" dirty="0"/>
                    </a:p>
                    <a:p>
                      <a:endParaRPr lang="de-DE" sz="1400" dirty="0"/>
                    </a:p>
                    <a:p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321490"/>
                  </a:ext>
                </a:extLst>
              </a:tr>
              <a:tr h="576759">
                <a:tc>
                  <a:txBody>
                    <a:bodyPr/>
                    <a:lstStyle/>
                    <a:p>
                      <a:r>
                        <a:rPr lang="de-DE" sz="1400" dirty="0"/>
                        <a:t>2) </a:t>
                      </a:r>
                      <a:r>
                        <a:rPr lang="de-DE" sz="1400" b="1" dirty="0"/>
                        <a:t>Altenquotient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  <a:p>
                      <a:endParaRPr lang="de-DE" sz="1400" dirty="0"/>
                    </a:p>
                    <a:p>
                      <a:endParaRPr lang="de-DE" sz="1400" dirty="0"/>
                    </a:p>
                    <a:p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7835586"/>
                  </a:ext>
                </a:extLst>
              </a:tr>
            </a:tbl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2950983-6793-2CEB-A636-863AABD0CC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086" y="1768037"/>
            <a:ext cx="1740327" cy="99700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A97DF40-CD45-45EA-70EB-BA4FEAE07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8085" y="2782795"/>
            <a:ext cx="1740327" cy="98639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C6CE334-2B39-9DD3-8C95-01D85D07B3AE}"/>
              </a:ext>
            </a:extLst>
          </p:cNvPr>
          <p:cNvSpPr txBox="1"/>
          <p:nvPr/>
        </p:nvSpPr>
        <p:spPr>
          <a:xfrm>
            <a:off x="3330320" y="1787063"/>
            <a:ext cx="26818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/>
              <a:t>= Gibt an wie viele </a:t>
            </a:r>
            <a:r>
              <a:rPr lang="de-DE" sz="1500" b="1" dirty="0"/>
              <a:t>unter 20-Jährige</a:t>
            </a:r>
            <a:r>
              <a:rPr lang="de-DE" sz="1500" dirty="0"/>
              <a:t> je 100 Personen es im Vergleich zu 20-64 Jährigen gibt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8B6BC15-972E-C061-65A8-1F23F90C77BD}"/>
              </a:ext>
            </a:extLst>
          </p:cNvPr>
          <p:cNvSpPr txBox="1"/>
          <p:nvPr/>
        </p:nvSpPr>
        <p:spPr>
          <a:xfrm>
            <a:off x="3322435" y="2676067"/>
            <a:ext cx="26818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= Verhältnis der </a:t>
            </a:r>
            <a:r>
              <a:rPr lang="de-DE" sz="1600" b="1" dirty="0"/>
              <a:t>über 64-Jährigen</a:t>
            </a:r>
            <a:r>
              <a:rPr lang="de-DE" sz="1600" dirty="0"/>
              <a:t> je 100 Personen im Vergleich zu den 20-64 Jähri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E3C2AE5-9411-B7ED-3279-DC6DC87960FF}"/>
              </a:ext>
            </a:extLst>
          </p:cNvPr>
          <p:cNvSpPr txBox="1"/>
          <p:nvPr/>
        </p:nvSpPr>
        <p:spPr>
          <a:xfrm>
            <a:off x="6065721" y="1826932"/>
            <a:ext cx="10531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/>
              <a:t>1950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A123943-A180-1F3A-F7B4-74BF136846D5}"/>
              </a:ext>
            </a:extLst>
          </p:cNvPr>
          <p:cNvSpPr txBox="1"/>
          <p:nvPr/>
        </p:nvSpPr>
        <p:spPr>
          <a:xfrm>
            <a:off x="6055707" y="2741940"/>
            <a:ext cx="10531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957483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en der alternden Bevölkerung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52CA17-35DE-AF7C-02C8-F6CB4EA05291}"/>
              </a:ext>
            </a:extLst>
          </p:cNvPr>
          <p:cNvSpPr txBox="1"/>
          <p:nvPr/>
        </p:nvSpPr>
        <p:spPr>
          <a:xfrm>
            <a:off x="266910" y="853650"/>
            <a:ext cx="7905490" cy="662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„Herrschaft der Alten“</a:t>
            </a:r>
            <a:endParaRPr lang="de-DE" sz="14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7" name="Tabelle 8">
            <a:extLst>
              <a:ext uri="{FF2B5EF4-FFF2-40B4-BE49-F238E27FC236}">
                <a16:creationId xmlns:a16="http://schemas.microsoft.com/office/drawing/2014/main" id="{F00B5E92-755C-85B0-FD60-11D89B0327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2600407"/>
              </p:ext>
            </p:extLst>
          </p:nvPr>
        </p:nvGraphicFramePr>
        <p:xfrm>
          <a:off x="485655" y="1184766"/>
          <a:ext cx="8298464" cy="30934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0085">
                  <a:extLst>
                    <a:ext uri="{9D8B030D-6E8A-4147-A177-3AD203B41FA5}">
                      <a16:colId xmlns:a16="http://schemas.microsoft.com/office/drawing/2014/main" val="4206692007"/>
                    </a:ext>
                  </a:extLst>
                </a:gridCol>
                <a:gridCol w="4668379">
                  <a:extLst>
                    <a:ext uri="{9D8B030D-6E8A-4147-A177-3AD203B41FA5}">
                      <a16:colId xmlns:a16="http://schemas.microsoft.com/office/drawing/2014/main" val="3637863157"/>
                    </a:ext>
                  </a:extLst>
                </a:gridCol>
              </a:tblGrid>
              <a:tr h="290744">
                <a:tc>
                  <a:txBody>
                    <a:bodyPr/>
                    <a:lstStyle/>
                    <a:p>
                      <a:r>
                        <a:rPr lang="de-DE" dirty="0"/>
                        <a:t>Herausforderung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Äußert sich folgendermaß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4144967"/>
                  </a:ext>
                </a:extLst>
              </a:tr>
              <a:tr h="522936">
                <a:tc>
                  <a:txBody>
                    <a:bodyPr/>
                    <a:lstStyle/>
                    <a:p>
                      <a:r>
                        <a:rPr lang="de-DE" dirty="0"/>
                        <a:t>1) Ältere Erwerbstäti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274031"/>
                  </a:ext>
                </a:extLst>
              </a:tr>
              <a:tr h="350844">
                <a:tc>
                  <a:txBody>
                    <a:bodyPr/>
                    <a:lstStyle/>
                    <a:p>
                      <a:r>
                        <a:rPr lang="de-DE" dirty="0"/>
                        <a:t>2) Arbeitskräftemangel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8653859"/>
                  </a:ext>
                </a:extLst>
              </a:tr>
              <a:tr h="547988">
                <a:tc>
                  <a:txBody>
                    <a:bodyPr/>
                    <a:lstStyle/>
                    <a:p>
                      <a:r>
                        <a:rPr lang="de-DE" dirty="0"/>
                        <a:t>3) Gefährdung sozialer Sich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1047"/>
                  </a:ext>
                </a:extLst>
              </a:tr>
              <a:tr h="558881">
                <a:tc>
                  <a:txBody>
                    <a:bodyPr/>
                    <a:lstStyle/>
                    <a:p>
                      <a:r>
                        <a:rPr lang="de-DE" dirty="0"/>
                        <a:t>4) Hochbetagte (80+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632963"/>
                  </a:ext>
                </a:extLst>
              </a:tr>
              <a:tr h="452591">
                <a:tc>
                  <a:txBody>
                    <a:bodyPr/>
                    <a:lstStyle/>
                    <a:p>
                      <a:r>
                        <a:rPr lang="de-DE" dirty="0"/>
                        <a:t>5) Repräsentationslücke der Jungen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3142589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64CA36D3-96D8-AB6B-F665-E192EC9B176C}"/>
              </a:ext>
            </a:extLst>
          </p:cNvPr>
          <p:cNvSpPr txBox="1"/>
          <p:nvPr/>
        </p:nvSpPr>
        <p:spPr>
          <a:xfrm>
            <a:off x="4121427" y="1488113"/>
            <a:ext cx="331236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rage nach einer </a:t>
            </a:r>
            <a:r>
              <a:rPr lang="de-DE" b="1" dirty="0"/>
              <a:t>sinkenden </a:t>
            </a:r>
            <a:r>
              <a:rPr lang="de-DE" b="0" dirty="0"/>
              <a:t>Innovations-</a:t>
            </a:r>
            <a:r>
              <a:rPr lang="de-DE" b="1" dirty="0"/>
              <a:t> </a:t>
            </a:r>
            <a:r>
              <a:rPr lang="de-DE" dirty="0"/>
              <a:t>und </a:t>
            </a:r>
            <a:r>
              <a:rPr lang="de-DE" b="1" dirty="0"/>
              <a:t>Leistungsfähigkei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D916333-B172-6570-0429-E6DD0F2502B7}"/>
              </a:ext>
            </a:extLst>
          </p:cNvPr>
          <p:cNvSpPr txBox="1"/>
          <p:nvPr/>
        </p:nvSpPr>
        <p:spPr>
          <a:xfrm>
            <a:off x="4121427" y="1981018"/>
            <a:ext cx="48067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inkende </a:t>
            </a:r>
            <a:r>
              <a:rPr lang="de-DE" b="1" dirty="0"/>
              <a:t>Arbeitskräfteanzahl,</a:t>
            </a:r>
            <a:r>
              <a:rPr lang="de-DE" b="0" dirty="0"/>
              <a:t> trotz zunehmendem </a:t>
            </a:r>
            <a:r>
              <a:rPr lang="de-DE" b="1" dirty="0"/>
              <a:t>Arbeitskräftebedarf</a:t>
            </a:r>
            <a:r>
              <a:rPr lang="de-DE" b="0" dirty="0"/>
              <a:t> (vor allem hoch qualifiziert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2228A-C7C6-7075-5BB9-D6D67689D31C}"/>
              </a:ext>
            </a:extLst>
          </p:cNvPr>
          <p:cNvSpPr txBox="1"/>
          <p:nvPr/>
        </p:nvSpPr>
        <p:spPr>
          <a:xfrm>
            <a:off x="4121427" y="2516081"/>
            <a:ext cx="4806708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rash des „</a:t>
            </a:r>
            <a:r>
              <a:rPr lang="de-DE" b="1" dirty="0"/>
              <a:t>Generationenvertrags</a:t>
            </a:r>
            <a:r>
              <a:rPr lang="de-DE" dirty="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unehmende </a:t>
            </a:r>
            <a:r>
              <a:rPr lang="de-DE" b="1" dirty="0"/>
              <a:t>Belastung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der Steuerzahler  2,1 Erwerbstätige müssen einen ganzen Rentner finanzieren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41FA273-A038-9061-48A3-B2AFB9992C9A}"/>
              </a:ext>
            </a:extLst>
          </p:cNvPr>
          <p:cNvSpPr txBox="1"/>
          <p:nvPr/>
        </p:nvSpPr>
        <p:spPr>
          <a:xfrm>
            <a:off x="4121427" y="3205927"/>
            <a:ext cx="46626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eigende und zeitlich länger andauernde </a:t>
            </a:r>
            <a:r>
              <a:rPr lang="de-DE" b="1" dirty="0"/>
              <a:t>Kosten</a:t>
            </a:r>
            <a:r>
              <a:rPr lang="de-DE" dirty="0"/>
              <a:t> für die </a:t>
            </a:r>
            <a:r>
              <a:rPr lang="de-DE" b="1" dirty="0"/>
              <a:t>Gesundheitssicherung</a:t>
            </a:r>
            <a:r>
              <a:rPr lang="de-DE" dirty="0"/>
              <a:t> und Pfleg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5EA99F4-ADE6-8C65-C746-07B007A6D9E9}"/>
              </a:ext>
            </a:extLst>
          </p:cNvPr>
          <p:cNvSpPr txBox="1"/>
          <p:nvPr/>
        </p:nvSpPr>
        <p:spPr>
          <a:xfrm>
            <a:off x="4121427" y="3774386"/>
            <a:ext cx="4662692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Ungleiche politische Vertretung </a:t>
            </a:r>
            <a:r>
              <a:rPr lang="de-DE" dirty="0"/>
              <a:t>der Altersgruppen </a:t>
            </a:r>
          </a:p>
          <a:p>
            <a:r>
              <a:rPr lang="de-DE" dirty="0"/>
              <a:t>Jungen Jahrgänge unterrepräsenti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42A1E8D-0B37-9889-5274-19A108BA02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2306" y="1276167"/>
            <a:ext cx="4897183" cy="191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079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Demographie:</a:t>
            </a:r>
            <a:br>
              <a:rPr lang="de-DE" dirty="0"/>
            </a:br>
            <a:r>
              <a:rPr lang="de-DE" dirty="0"/>
              <a:t>(Erweiterung)</a:t>
            </a:r>
            <a:br>
              <a:rPr lang="de-DE" dirty="0"/>
            </a:br>
            <a:br>
              <a:rPr lang="de-DE" b="1" dirty="0"/>
            </a:br>
            <a:r>
              <a:rPr lang="de-DE" dirty="0"/>
              <a:t>I: Geburtenentwicklung</a:t>
            </a:r>
            <a:br>
              <a:rPr lang="de-DE" dirty="0"/>
            </a:br>
            <a:r>
              <a:rPr lang="de-DE" b="1" dirty="0"/>
              <a:t>II: Sterblichkeit</a:t>
            </a:r>
            <a:br>
              <a:rPr lang="de-DE" b="1" dirty="0"/>
            </a:br>
            <a:r>
              <a:rPr lang="de-DE" b="1" dirty="0"/>
              <a:t>III: </a:t>
            </a:r>
            <a:r>
              <a:rPr lang="de-DE" b="1" dirty="0">
                <a:solidFill>
                  <a:schemeClr val="accent2"/>
                </a:solidFill>
              </a:rPr>
              <a:t>Migration</a:t>
            </a:r>
            <a:br>
              <a:rPr lang="de-DE" b="1" dirty="0"/>
            </a:b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4401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Migr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60" y="828587"/>
            <a:ext cx="7974000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„</a:t>
            </a:r>
            <a:r>
              <a:rPr lang="de-DE" sz="1800" dirty="0"/>
              <a:t>Wanderung, Bewegung </a:t>
            </a:r>
            <a:r>
              <a:rPr lang="de-DE" sz="1800" b="0" dirty="0"/>
              <a:t>von Individuen, Gruppen oder Gesellschaften im </a:t>
            </a:r>
            <a:r>
              <a:rPr lang="de-DE" sz="1800" dirty="0"/>
              <a:t>geographischen und sozialen Raum</a:t>
            </a:r>
            <a:r>
              <a:rPr lang="de-DE" sz="1800" b="0" dirty="0"/>
              <a:t>, die mit einem </a:t>
            </a:r>
            <a:r>
              <a:rPr lang="de-DE" sz="1800" dirty="0"/>
              <a:t>ständigen oder vorrübergehenden Wechsel </a:t>
            </a:r>
            <a:r>
              <a:rPr lang="de-DE" sz="1800" b="0" dirty="0"/>
              <a:t>des </a:t>
            </a:r>
            <a:r>
              <a:rPr lang="de-DE" sz="1800" dirty="0"/>
              <a:t>Wohnsitzes</a:t>
            </a:r>
            <a:r>
              <a:rPr lang="de-DE" sz="1800" b="0" dirty="0"/>
              <a:t> verbunden sind“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Gliederung i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dirty="0"/>
              <a:t>Binnen</a:t>
            </a:r>
            <a:r>
              <a:rPr lang="de-DE" sz="1800" b="0" dirty="0"/>
              <a:t>wanderung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2) </a:t>
            </a:r>
            <a:r>
              <a:rPr lang="de-DE" sz="1800" dirty="0"/>
              <a:t>Rotation</a:t>
            </a:r>
            <a:r>
              <a:rPr lang="de-DE" sz="1800" b="0" dirty="0"/>
              <a:t>swanderungen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3) </a:t>
            </a:r>
            <a:r>
              <a:rPr lang="de-DE" sz="1800" dirty="0"/>
              <a:t>Transnationale</a:t>
            </a:r>
            <a:r>
              <a:rPr lang="de-DE" sz="1800" b="0" dirty="0"/>
              <a:t> Migration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Dimensionen: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runtemund@.rub.de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CB5B4B-2E94-9862-B5E3-881048B96187}"/>
              </a:ext>
            </a:extLst>
          </p:cNvPr>
          <p:cNvSpPr/>
          <p:nvPr/>
        </p:nvSpPr>
        <p:spPr>
          <a:xfrm>
            <a:off x="114428" y="3714564"/>
            <a:ext cx="2016224" cy="27202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Räumlich: Wohin?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EED6A64-6756-E2F0-B24C-EDE5CEEA7831}"/>
              </a:ext>
            </a:extLst>
          </p:cNvPr>
          <p:cNvSpPr/>
          <p:nvPr/>
        </p:nvSpPr>
        <p:spPr>
          <a:xfrm>
            <a:off x="2208633" y="3714564"/>
            <a:ext cx="2016224" cy="27202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Zeitlich: Wie lange?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AF0B561-560D-CB38-9C8E-872B9D31B76D}"/>
              </a:ext>
            </a:extLst>
          </p:cNvPr>
          <p:cNvSpPr/>
          <p:nvPr/>
        </p:nvSpPr>
        <p:spPr>
          <a:xfrm>
            <a:off x="4302838" y="3570929"/>
            <a:ext cx="2489216" cy="41566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0" dirty="0"/>
              <a:t>Wanderungsentscheidung: Freiwillig?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5F7C6C4-DE77-BBD5-CF8B-FF57B3090D06}"/>
              </a:ext>
            </a:extLst>
          </p:cNvPr>
          <p:cNvSpPr/>
          <p:nvPr/>
        </p:nvSpPr>
        <p:spPr>
          <a:xfrm>
            <a:off x="6877037" y="3714564"/>
            <a:ext cx="2016224" cy="27202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Umfang: Wer alles?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66DA4AB-62CB-A0C2-60B4-6CBE6F91AF94}"/>
              </a:ext>
            </a:extLst>
          </p:cNvPr>
          <p:cNvSpPr/>
          <p:nvPr/>
        </p:nvSpPr>
        <p:spPr>
          <a:xfrm>
            <a:off x="2949551" y="4067629"/>
            <a:ext cx="2489216" cy="41566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0" dirty="0"/>
              <a:t>Prozess: Abwägungsprozess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4FD48D6-6A2A-1591-99F6-0BF7164855AB}"/>
              </a:ext>
            </a:extLst>
          </p:cNvPr>
          <p:cNvSpPr txBox="1"/>
          <p:nvPr/>
        </p:nvSpPr>
        <p:spPr>
          <a:xfrm>
            <a:off x="2600796" y="2080825"/>
            <a:ext cx="3672408" cy="36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tx2"/>
                </a:solidFill>
              </a:rPr>
              <a:t>(= Wanderung innerhalb der BRD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1DB21BF-C3EA-D534-1A73-15F3748E19E6}"/>
              </a:ext>
            </a:extLst>
          </p:cNvPr>
          <p:cNvSpPr txBox="1"/>
          <p:nvPr/>
        </p:nvSpPr>
        <p:spPr>
          <a:xfrm>
            <a:off x="3156988" y="2529080"/>
            <a:ext cx="4756621" cy="36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tx2"/>
                </a:solidFill>
              </a:rPr>
              <a:t>(= Saisonale Bewegungen- Arbeitsmigration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5FB9FE4-1971-3669-1D4D-2ED060F7B037}"/>
              </a:ext>
            </a:extLst>
          </p:cNvPr>
          <p:cNvSpPr txBox="1"/>
          <p:nvPr/>
        </p:nvSpPr>
        <p:spPr>
          <a:xfrm>
            <a:off x="3414305" y="2951203"/>
            <a:ext cx="5033567" cy="36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tx2"/>
                </a:solidFill>
              </a:rPr>
              <a:t>(= über (mehrere) Staatsgrenzen hinweg)</a:t>
            </a:r>
          </a:p>
        </p:txBody>
      </p:sp>
    </p:spTree>
    <p:extLst>
      <p:ext uri="{BB962C8B-B14F-4D97-AF65-F5344CB8AC3E}">
        <p14:creationId xmlns:p14="http://schemas.microsoft.com/office/powerpoint/2010/main" val="4265918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2" grpId="0" animBg="1"/>
      <p:bldP spid="9" grpId="0" animBg="1"/>
      <p:bldP spid="10" grpId="0"/>
      <p:bldP spid="11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26003"/>
            <a:ext cx="7560000" cy="468000"/>
          </a:xfrm>
        </p:spPr>
        <p:txBody>
          <a:bodyPr/>
          <a:lstStyle/>
          <a:p>
            <a:r>
              <a:rPr lang="de-DE" dirty="0"/>
              <a:t>Migration: Gründ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803616"/>
            <a:ext cx="8298464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Wechselseitiges Zusammenspiel von </a:t>
            </a:r>
            <a:r>
              <a:rPr lang="de-DE" sz="1800" dirty="0"/>
              <a:t>Push- und Pull-Faktor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Push-Faktoren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= Umstände im </a:t>
            </a:r>
            <a:r>
              <a:rPr lang="de-DE" sz="1800" dirty="0"/>
              <a:t>Herkunftsland</a:t>
            </a:r>
            <a:r>
              <a:rPr lang="de-DE" sz="1800" b="0" dirty="0"/>
              <a:t>, die zu Migration führen </a:t>
            </a:r>
            <a:r>
              <a:rPr lang="de-DE" sz="1800" b="0" i="1" dirty="0"/>
              <a:t>(Druck zu gehen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eispiele: Armut, ökologischer Niedergang politische/ religiöse/ethische Konflikte, Repressionen von Gruppen/Minderheiten…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Pull-Faktor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= Attraktive Umstände im </a:t>
            </a:r>
            <a:r>
              <a:rPr lang="de-DE" sz="1800" dirty="0"/>
              <a:t>Aufnahmeland</a:t>
            </a:r>
            <a:r>
              <a:rPr lang="de-DE" sz="1800" b="0" dirty="0"/>
              <a:t> </a:t>
            </a:r>
            <a:r>
              <a:rPr lang="de-DE" sz="1800" b="0" i="1" dirty="0"/>
              <a:t>(Sog zu kommen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eispiele: Einwanderungsgesetze, politische/ ökonomische Stabilität, weitere Anreize…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Meistens greifen mehrere Gründe ineinander</a:t>
            </a: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runtemund@.rub.de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0407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Migrationshintergrund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391" y="767419"/>
            <a:ext cx="7974000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„alle </a:t>
            </a:r>
            <a:r>
              <a:rPr lang="de-DE" sz="1800" dirty="0"/>
              <a:t>nach 1949 </a:t>
            </a:r>
            <a:r>
              <a:rPr lang="de-DE" sz="1800" b="0" dirty="0"/>
              <a:t>auf das heutige Gebiet der Bundesrepublik Deutschland </a:t>
            </a:r>
            <a:r>
              <a:rPr lang="de-DE" sz="1800" dirty="0"/>
              <a:t>Zugewanderten</a:t>
            </a:r>
            <a:r>
              <a:rPr lang="de-DE" sz="1800" b="0" dirty="0"/>
              <a:t>, sowie alle </a:t>
            </a:r>
            <a:r>
              <a:rPr lang="de-DE" sz="1800" dirty="0"/>
              <a:t>in Deutschland geborenen Ausländer </a:t>
            </a:r>
            <a:r>
              <a:rPr lang="de-DE" sz="1800" b="0" dirty="0"/>
              <a:t>und alle in Deutschland als </a:t>
            </a:r>
            <a:r>
              <a:rPr lang="de-DE" sz="1800" dirty="0"/>
              <a:t>Deutsche Geborenen mit zumindest </a:t>
            </a:r>
            <a:r>
              <a:rPr lang="de-DE" sz="1800" b="0" dirty="0"/>
              <a:t>einem </a:t>
            </a:r>
            <a:r>
              <a:rPr lang="de-DE" sz="1800" dirty="0"/>
              <a:t>zugewanderten</a:t>
            </a:r>
            <a:r>
              <a:rPr lang="de-DE" sz="1800" b="0" dirty="0"/>
              <a:t> oder als </a:t>
            </a:r>
            <a:r>
              <a:rPr lang="de-DE" sz="1800" dirty="0"/>
              <a:t>Ausländer</a:t>
            </a:r>
            <a:r>
              <a:rPr lang="de-DE" sz="1800" b="0" dirty="0"/>
              <a:t> in Deutschland geborenen </a:t>
            </a:r>
            <a:r>
              <a:rPr lang="de-DE" sz="1800" dirty="0"/>
              <a:t>Elternteil</a:t>
            </a:r>
            <a:r>
              <a:rPr lang="de-DE" sz="1800" b="0" dirty="0"/>
              <a:t>“ </a:t>
            </a:r>
            <a:r>
              <a:rPr lang="de-DE" sz="1400" b="0" dirty="0"/>
              <a:t>Statistisches Bundesam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4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Daten (2019)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21,246 Mio. Menschen mit MH </a:t>
            </a:r>
            <a:r>
              <a:rPr lang="de-DE" sz="1800" b="0" dirty="0">
                <a:sym typeface="Wingdings" panose="05000000000000000000" pitchFamily="2" charset="2"/>
              </a:rPr>
              <a:t> 26% der Bevölkerung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Davon 52% ‚Deutsche‘ mit MH und 46% Auslände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65% der Personen mit MH aus europäischer Region  13,8 Mio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Wichtigste Herkunftsländer: 13% Türkei, 11% Polen, 7% Russland</a:t>
            </a:r>
            <a:endParaRPr lang="de-DE" sz="24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runtemund@.rub.de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4084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95417"/>
            <a:ext cx="7560000" cy="468000"/>
          </a:xfrm>
        </p:spPr>
        <p:txBody>
          <a:bodyPr/>
          <a:lstStyle/>
          <a:p>
            <a:r>
              <a:rPr lang="de-DE" dirty="0"/>
              <a:t>Migrationshintergrund: Trend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9616"/>
            <a:ext cx="8694000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Nach ausgewählten </a:t>
            </a:r>
            <a:r>
              <a:rPr lang="de-DE" sz="1800" dirty="0"/>
              <a:t>Berufen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Überpräsentiert in Reinigungs- (55%), Lagerwirtschaft- Lebensmittelberufen &amp; Altenpflege (30%) </a:t>
            </a:r>
            <a:r>
              <a:rPr lang="de-DE" sz="1800" b="0" dirty="0">
                <a:sym typeface="Wingdings" panose="05000000000000000000" pitchFamily="2" charset="2"/>
              </a:rPr>
              <a:t> auch systemrelevante Berufe</a:t>
            </a: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Demographie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Personen mit MH jünger (Übergewicht bei 25-50 J.) </a:t>
            </a:r>
            <a:r>
              <a:rPr lang="de-DE" sz="1800" b="0" dirty="0">
                <a:sym typeface="Wingdings" panose="05000000000000000000" pitchFamily="2" charset="2"/>
              </a:rPr>
              <a:t> Erwerbsalte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Schutzsuchende ebenfalls (20-40 J.) &amp; deutlicher Männerüberschus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Erwerbstätigkeit</a:t>
            </a:r>
            <a:r>
              <a:rPr lang="de-DE" sz="1800" b="0" dirty="0">
                <a:sym typeface="Wingdings" panose="05000000000000000000" pitchFamily="2" charset="2"/>
              </a:rPr>
              <a:t>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Mit MH Anteil Erwerbslose &amp; Nichterwerbspersonen leicht höhe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Staatsangehörigkeit</a:t>
            </a:r>
            <a:r>
              <a:rPr lang="de-DE" sz="1800" b="0" dirty="0"/>
              <a:t> der Ausländer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Türkei, Polen, Syrien (ab 2015), Rumänien, Italien </a:t>
            </a:r>
            <a:r>
              <a:rPr lang="de-DE" sz="1800" b="0" dirty="0">
                <a:sym typeface="Wingdings" panose="05000000000000000000" pitchFamily="2" charset="2"/>
              </a:rPr>
              <a:t> EU Staaten + Schutzstaaten</a:t>
            </a: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2270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7249250" y="973831"/>
            <a:ext cx="1946226" cy="835613"/>
          </a:xfrm>
          <a:prstGeom prst="rect">
            <a:avLst/>
          </a:prstGeom>
          <a:gradFill>
            <a:gsLst>
              <a:gs pos="0">
                <a:schemeClr val="accent5">
                  <a:lumMod val="75000"/>
                </a:schemeClr>
              </a:gs>
              <a:gs pos="32000">
                <a:schemeClr val="accent5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228600" rIns="182880" bIns="228600" numCol="1" spcCol="1270" anchor="t" anchorCtr="0">
            <a:spAutoFit/>
          </a:bodyPr>
          <a:lstStyle/>
          <a:p>
            <a:pPr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b="1" dirty="0">
                <a:solidFill>
                  <a:schemeClr val="tx2"/>
                </a:solidFill>
              </a:rPr>
              <a:t>5) </a:t>
            </a:r>
            <a:r>
              <a:rPr lang="en-US" b="1" dirty="0" err="1">
                <a:solidFill>
                  <a:schemeClr val="tx2"/>
                </a:solidFill>
              </a:rPr>
              <a:t>Erhöhtes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Armutsrisiko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41" name="Parallelogram 40"/>
          <p:cNvSpPr/>
          <p:nvPr/>
        </p:nvSpPr>
        <p:spPr>
          <a:xfrm rot="5400000" flipV="1">
            <a:off x="6892481" y="1631350"/>
            <a:ext cx="789299" cy="202363"/>
          </a:xfrm>
          <a:prstGeom prst="parallelogram">
            <a:avLst>
              <a:gd name="adj" fmla="val 66077"/>
            </a:avLst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/>
          <p:cNvSpPr/>
          <p:nvPr/>
        </p:nvSpPr>
        <p:spPr>
          <a:xfrm>
            <a:off x="5421319" y="965226"/>
            <a:ext cx="2002536" cy="1022588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32000">
                <a:schemeClr val="accent4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228600" rIns="182880" bIns="228600" numCol="1" spcCol="1270" anchor="t" anchorCtr="0">
            <a:spAutoFit/>
          </a:bodyPr>
          <a:lstStyle/>
          <a:p>
            <a:pPr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b="1" dirty="0">
                <a:solidFill>
                  <a:schemeClr val="tx2"/>
                </a:solidFill>
              </a:rPr>
              <a:t>4) </a:t>
            </a:r>
            <a:r>
              <a:rPr lang="en-US" b="1" dirty="0" err="1">
                <a:solidFill>
                  <a:schemeClr val="tx2"/>
                </a:solidFill>
              </a:rPr>
              <a:t>Probleme</a:t>
            </a:r>
            <a:r>
              <a:rPr lang="en-US" b="1" dirty="0">
                <a:solidFill>
                  <a:schemeClr val="tx2"/>
                </a:solidFill>
              </a:rPr>
              <a:t> des </a:t>
            </a:r>
            <a:r>
              <a:rPr lang="en-US" b="1" dirty="0" err="1">
                <a:solidFill>
                  <a:schemeClr val="tx2"/>
                </a:solidFill>
              </a:rPr>
              <a:t>Qualifikationstransfe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53" name="Parallelogram 52"/>
          <p:cNvSpPr/>
          <p:nvPr/>
        </p:nvSpPr>
        <p:spPr>
          <a:xfrm rot="5400000" flipV="1">
            <a:off x="5093837" y="1495570"/>
            <a:ext cx="789299" cy="202363"/>
          </a:xfrm>
          <a:prstGeom prst="parallelogram">
            <a:avLst>
              <a:gd name="adj" fmla="val 66077"/>
            </a:avLst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/>
          <p:cNvSpPr/>
          <p:nvPr/>
        </p:nvSpPr>
        <p:spPr>
          <a:xfrm>
            <a:off x="3665186" y="930224"/>
            <a:ext cx="2002536" cy="1022588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32000">
                <a:schemeClr val="accent3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228600" rIns="182880" bIns="228600" numCol="1" spcCol="1270" anchor="t" anchorCtr="0">
            <a:spAutoFit/>
          </a:bodyPr>
          <a:lstStyle/>
          <a:p>
            <a:pPr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b="1" dirty="0">
                <a:solidFill>
                  <a:schemeClr val="tx2"/>
                </a:solidFill>
              </a:rPr>
              <a:t>3) </a:t>
            </a:r>
            <a:r>
              <a:rPr lang="en-US" b="1" dirty="0" err="1">
                <a:solidFill>
                  <a:schemeClr val="tx2"/>
                </a:solidFill>
              </a:rPr>
              <a:t>Benachteiligung</a:t>
            </a:r>
            <a:r>
              <a:rPr lang="en-US" b="1" dirty="0">
                <a:solidFill>
                  <a:schemeClr val="tx2"/>
                </a:solidFill>
              </a:rPr>
              <a:t> auf dem </a:t>
            </a:r>
            <a:r>
              <a:rPr lang="en-US" b="1" dirty="0" err="1">
                <a:solidFill>
                  <a:schemeClr val="tx2"/>
                </a:solidFill>
              </a:rPr>
              <a:t>Arbeitsmarkt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52" name="Parallelogram 51"/>
          <p:cNvSpPr/>
          <p:nvPr/>
        </p:nvSpPr>
        <p:spPr>
          <a:xfrm rot="5400000" flipV="1">
            <a:off x="3299337" y="1359748"/>
            <a:ext cx="789299" cy="202363"/>
          </a:xfrm>
          <a:prstGeom prst="parallelogram">
            <a:avLst>
              <a:gd name="adj" fmla="val 66077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/>
          <p:cNvSpPr/>
          <p:nvPr/>
        </p:nvSpPr>
        <p:spPr>
          <a:xfrm>
            <a:off x="1788923" y="920279"/>
            <a:ext cx="2068769" cy="102258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32000">
                <a:schemeClr val="accent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228600" rIns="182880" bIns="228600" numCol="1" spcCol="1270" anchor="t" anchorCtr="0">
            <a:spAutoFit/>
          </a:bodyPr>
          <a:lstStyle/>
          <a:p>
            <a:pPr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b="1" dirty="0">
                <a:solidFill>
                  <a:schemeClr val="tx2"/>
                </a:solidFill>
              </a:rPr>
              <a:t>2) </a:t>
            </a:r>
            <a:r>
              <a:rPr lang="en-US" b="1" dirty="0" err="1">
                <a:solidFill>
                  <a:schemeClr val="tx2"/>
                </a:solidFill>
              </a:rPr>
              <a:t>Schlechtere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Chancen</a:t>
            </a:r>
            <a:r>
              <a:rPr lang="en-US" b="1" dirty="0">
                <a:solidFill>
                  <a:schemeClr val="tx2"/>
                </a:solidFill>
              </a:rPr>
              <a:t> auf </a:t>
            </a:r>
            <a:r>
              <a:rPr lang="en-US" b="1" dirty="0" err="1">
                <a:solidFill>
                  <a:schemeClr val="tx2"/>
                </a:solidFill>
              </a:rPr>
              <a:t>einen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Ausbildungsplatz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286" y="253029"/>
            <a:ext cx="7560000" cy="468000"/>
          </a:xfrm>
        </p:spPr>
        <p:txBody>
          <a:bodyPr/>
          <a:lstStyle/>
          <a:p>
            <a:r>
              <a:rPr lang="en-US" dirty="0"/>
              <a:t>Migration: </a:t>
            </a:r>
            <a:r>
              <a:rPr lang="en-US" dirty="0" err="1"/>
              <a:t>Herausforderungen</a:t>
            </a:r>
            <a:r>
              <a:rPr lang="en-US" dirty="0"/>
              <a:t> und </a:t>
            </a:r>
            <a:r>
              <a:rPr lang="en-US" dirty="0" err="1"/>
              <a:t>Maßnahme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1760034"/>
            <a:ext cx="9144000" cy="2760599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82880" rIns="182880" bIns="182880" numCol="1" spcCol="1270" anchor="t" anchorCtr="0">
            <a:noAutofit/>
          </a:bodyPr>
          <a:lstStyle/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tx1"/>
                </a:solidFill>
              </a:rPr>
              <a:t>Ganzheitliche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err="1">
                <a:solidFill>
                  <a:schemeClr val="tx1"/>
                </a:solidFill>
              </a:rPr>
              <a:t>Betrachtung</a:t>
            </a:r>
            <a:endParaRPr lang="en-US" sz="1800" dirty="0">
              <a:solidFill>
                <a:schemeClr val="tx1"/>
              </a:solidFill>
            </a:endParaRPr>
          </a:p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tx1"/>
                </a:solidFill>
              </a:rPr>
              <a:t>Klaren</a:t>
            </a:r>
            <a:r>
              <a:rPr lang="en-US" sz="1800" dirty="0">
                <a:solidFill>
                  <a:schemeClr val="tx1"/>
                </a:solidFill>
              </a:rPr>
              <a:t> Status </a:t>
            </a:r>
            <a:r>
              <a:rPr lang="en-US" sz="1800" dirty="0" err="1">
                <a:solidFill>
                  <a:schemeClr val="tx1"/>
                </a:solidFill>
              </a:rPr>
              <a:t>schaffen</a:t>
            </a:r>
            <a:r>
              <a:rPr lang="en-US" sz="1800" dirty="0">
                <a:solidFill>
                  <a:schemeClr val="tx1"/>
                </a:solidFill>
              </a:rPr>
              <a:t> – </a:t>
            </a:r>
            <a:r>
              <a:rPr lang="en-US" sz="1800" dirty="0" err="1">
                <a:solidFill>
                  <a:schemeClr val="tx1"/>
                </a:solidFill>
              </a:rPr>
              <a:t>Unsicherheit</a:t>
            </a:r>
            <a:r>
              <a:rPr lang="en-US" sz="1800" dirty="0">
                <a:solidFill>
                  <a:schemeClr val="tx1"/>
                </a:solidFill>
              </a:rPr>
              <a:t> &amp; </a:t>
            </a:r>
            <a:r>
              <a:rPr lang="en-US" sz="1800" dirty="0" err="1">
                <a:solidFill>
                  <a:schemeClr val="tx1"/>
                </a:solidFill>
              </a:rPr>
              <a:t>Unklarheit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err="1">
                <a:solidFill>
                  <a:schemeClr val="tx1"/>
                </a:solidFill>
              </a:rPr>
              <a:t>nehmen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z.B.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deutsch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Pass</a:t>
            </a:r>
          </a:p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Von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klei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auf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beginn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(An der Wurzel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beginn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)</a:t>
            </a:r>
          </a:p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Bürokratische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Struktur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abschaffen</a:t>
            </a:r>
            <a:endParaRPr lang="en-US" sz="18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Forderung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stell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&amp;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Kontrollen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(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Bildungssystem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Schulpflicht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)</a:t>
            </a:r>
          </a:p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  <a:sym typeface="Wingdings" panose="05000000000000000000" pitchFamily="2" charset="2"/>
              </a:rPr>
              <a:t>“</a:t>
            </a:r>
            <a:r>
              <a:rPr lang="en-US" sz="1800" b="1" dirty="0" err="1">
                <a:solidFill>
                  <a:schemeClr val="tx1"/>
                </a:solidFill>
                <a:sym typeface="Wingdings" panose="05000000000000000000" pitchFamily="2" charset="2"/>
              </a:rPr>
              <a:t>Sprache</a:t>
            </a:r>
            <a:r>
              <a:rPr lang="en-US" sz="18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olidFill>
                  <a:schemeClr val="tx1"/>
                </a:solidFill>
                <a:sym typeface="Wingdings" panose="05000000000000000000" pitchFamily="2" charset="2"/>
              </a:rPr>
              <a:t>ist</a:t>
            </a:r>
            <a:r>
              <a:rPr lang="en-US" sz="1800" b="1" dirty="0">
                <a:solidFill>
                  <a:schemeClr val="tx1"/>
                </a:solidFill>
                <a:sym typeface="Wingdings" panose="05000000000000000000" pitchFamily="2" charset="2"/>
              </a:rPr>
              <a:t> der </a:t>
            </a:r>
            <a:r>
              <a:rPr lang="en-US" sz="1800" b="1" dirty="0" err="1">
                <a:solidFill>
                  <a:schemeClr val="tx1"/>
                </a:solidFill>
                <a:sym typeface="Wingdings" panose="05000000000000000000" pitchFamily="2" charset="2"/>
              </a:rPr>
              <a:t>Schlüssel</a:t>
            </a:r>
            <a:r>
              <a:rPr lang="en-US" sz="18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olidFill>
                  <a:schemeClr val="tx1"/>
                </a:solidFill>
                <a:sym typeface="Wingdings" panose="05000000000000000000" pitchFamily="2" charset="2"/>
              </a:rPr>
              <a:t>zur</a:t>
            </a:r>
            <a:r>
              <a:rPr lang="en-US" sz="1800" b="1" dirty="0">
                <a:solidFill>
                  <a:schemeClr val="tx1"/>
                </a:solidFill>
                <a:sym typeface="Wingdings" panose="05000000000000000000" pitchFamily="2" charset="2"/>
              </a:rPr>
              <a:t> Integration”</a:t>
            </a:r>
            <a:endParaRPr lang="en-US" sz="1800" b="1" dirty="0">
              <a:solidFill>
                <a:schemeClr val="tx1"/>
              </a:solidFill>
            </a:endParaRPr>
          </a:p>
          <a:p>
            <a:pPr marL="171450" indent="-171450"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1" name="Parallelogram 50"/>
          <p:cNvSpPr/>
          <p:nvPr/>
        </p:nvSpPr>
        <p:spPr>
          <a:xfrm rot="5400000" flipV="1">
            <a:off x="1506483" y="1224338"/>
            <a:ext cx="789299" cy="202363"/>
          </a:xfrm>
          <a:prstGeom prst="parallelogram">
            <a:avLst>
              <a:gd name="adj" fmla="val 66077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0" y="918567"/>
            <a:ext cx="2002536" cy="8356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228600" rIns="182880" bIns="228600" numCol="1" spcCol="1270" anchor="t" anchorCtr="0">
            <a:spAutoFit/>
          </a:bodyPr>
          <a:lstStyle/>
          <a:p>
            <a:pPr defTabSz="666734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b="1" dirty="0">
                <a:solidFill>
                  <a:schemeClr val="tx2"/>
                </a:solidFill>
              </a:rPr>
              <a:t>1) </a:t>
            </a:r>
            <a:r>
              <a:rPr lang="en-US" b="1" dirty="0" err="1">
                <a:solidFill>
                  <a:schemeClr val="tx2"/>
                </a:solidFill>
              </a:rPr>
              <a:t>Geringer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Schulerfolg</a:t>
            </a:r>
            <a:endParaRPr lang="en-US" b="1" dirty="0">
              <a:solidFill>
                <a:schemeClr val="tx2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96869" y="4163898"/>
            <a:ext cx="310842" cy="310840"/>
            <a:chOff x="6564979" y="4358506"/>
            <a:chExt cx="674638" cy="674638"/>
          </a:xfrm>
        </p:grpSpPr>
        <p:sp>
          <p:nvSpPr>
            <p:cNvPr id="32" name="Oval 31"/>
            <p:cNvSpPr/>
            <p:nvPr/>
          </p:nvSpPr>
          <p:spPr>
            <a:xfrm>
              <a:off x="6564979" y="4358506"/>
              <a:ext cx="674638" cy="6746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6709217" y="4527690"/>
              <a:ext cx="386162" cy="336270"/>
            </a:xfrm>
            <a:custGeom>
              <a:avLst/>
              <a:gdLst>
                <a:gd name="T0" fmla="*/ 326 w 577"/>
                <a:gd name="T1" fmla="*/ 502 h 502"/>
                <a:gd name="T2" fmla="*/ 299 w 577"/>
                <a:gd name="T3" fmla="*/ 491 h 502"/>
                <a:gd name="T4" fmla="*/ 299 w 577"/>
                <a:gd name="T5" fmla="*/ 436 h 502"/>
                <a:gd name="T6" fmla="*/ 445 w 577"/>
                <a:gd name="T7" fmla="*/ 289 h 502"/>
                <a:gd name="T8" fmla="*/ 39 w 577"/>
                <a:gd name="T9" fmla="*/ 289 h 502"/>
                <a:gd name="T10" fmla="*/ 0 w 577"/>
                <a:gd name="T11" fmla="*/ 251 h 502"/>
                <a:gd name="T12" fmla="*/ 39 w 577"/>
                <a:gd name="T13" fmla="*/ 212 h 502"/>
                <a:gd name="T14" fmla="*/ 445 w 577"/>
                <a:gd name="T15" fmla="*/ 212 h 502"/>
                <a:gd name="T16" fmla="*/ 299 w 577"/>
                <a:gd name="T17" fmla="*/ 65 h 502"/>
                <a:gd name="T18" fmla="*/ 299 w 577"/>
                <a:gd name="T19" fmla="*/ 11 h 502"/>
                <a:gd name="T20" fmla="*/ 326 w 577"/>
                <a:gd name="T21" fmla="*/ 0 h 502"/>
                <a:gd name="T22" fmla="*/ 353 w 577"/>
                <a:gd name="T23" fmla="*/ 11 h 502"/>
                <a:gd name="T24" fmla="*/ 566 w 577"/>
                <a:gd name="T25" fmla="*/ 224 h 502"/>
                <a:gd name="T26" fmla="*/ 571 w 577"/>
                <a:gd name="T27" fmla="*/ 229 h 502"/>
                <a:gd name="T28" fmla="*/ 571 w 577"/>
                <a:gd name="T29" fmla="*/ 230 h 502"/>
                <a:gd name="T30" fmla="*/ 572 w 577"/>
                <a:gd name="T31" fmla="*/ 231 h 502"/>
                <a:gd name="T32" fmla="*/ 574 w 577"/>
                <a:gd name="T33" fmla="*/ 236 h 502"/>
                <a:gd name="T34" fmla="*/ 575 w 577"/>
                <a:gd name="T35" fmla="*/ 238 h 502"/>
                <a:gd name="T36" fmla="*/ 576 w 577"/>
                <a:gd name="T37" fmla="*/ 243 h 502"/>
                <a:gd name="T38" fmla="*/ 577 w 577"/>
                <a:gd name="T39" fmla="*/ 251 h 502"/>
                <a:gd name="T40" fmla="*/ 576 w 577"/>
                <a:gd name="T41" fmla="*/ 258 h 502"/>
                <a:gd name="T42" fmla="*/ 575 w 577"/>
                <a:gd name="T43" fmla="*/ 263 h 502"/>
                <a:gd name="T44" fmla="*/ 574 w 577"/>
                <a:gd name="T45" fmla="*/ 266 h 502"/>
                <a:gd name="T46" fmla="*/ 572 w 577"/>
                <a:gd name="T47" fmla="*/ 271 h 502"/>
                <a:gd name="T48" fmla="*/ 571 w 577"/>
                <a:gd name="T49" fmla="*/ 272 h 502"/>
                <a:gd name="T50" fmla="*/ 566 w 577"/>
                <a:gd name="T51" fmla="*/ 278 h 502"/>
                <a:gd name="T52" fmla="*/ 353 w 577"/>
                <a:gd name="T53" fmla="*/ 491 h 502"/>
                <a:gd name="T54" fmla="*/ 326 w 577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7" h="502">
                  <a:moveTo>
                    <a:pt x="326" y="502"/>
                  </a:moveTo>
                  <a:cubicBezTo>
                    <a:pt x="316" y="502"/>
                    <a:pt x="306" y="498"/>
                    <a:pt x="299" y="491"/>
                  </a:cubicBezTo>
                  <a:cubicBezTo>
                    <a:pt x="284" y="476"/>
                    <a:pt x="284" y="451"/>
                    <a:pt x="299" y="436"/>
                  </a:cubicBezTo>
                  <a:cubicBezTo>
                    <a:pt x="445" y="289"/>
                    <a:pt x="445" y="289"/>
                    <a:pt x="445" y="289"/>
                  </a:cubicBezTo>
                  <a:cubicBezTo>
                    <a:pt x="39" y="289"/>
                    <a:pt x="39" y="289"/>
                    <a:pt x="39" y="289"/>
                  </a:cubicBezTo>
                  <a:cubicBezTo>
                    <a:pt x="17" y="289"/>
                    <a:pt x="0" y="272"/>
                    <a:pt x="0" y="251"/>
                  </a:cubicBezTo>
                  <a:cubicBezTo>
                    <a:pt x="0" y="230"/>
                    <a:pt x="17" y="212"/>
                    <a:pt x="39" y="212"/>
                  </a:cubicBezTo>
                  <a:cubicBezTo>
                    <a:pt x="445" y="212"/>
                    <a:pt x="445" y="212"/>
                    <a:pt x="445" y="212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284" y="50"/>
                    <a:pt x="284" y="26"/>
                    <a:pt x="299" y="11"/>
                  </a:cubicBezTo>
                  <a:cubicBezTo>
                    <a:pt x="306" y="4"/>
                    <a:pt x="316" y="0"/>
                    <a:pt x="326" y="0"/>
                  </a:cubicBezTo>
                  <a:cubicBezTo>
                    <a:pt x="336" y="0"/>
                    <a:pt x="346" y="4"/>
                    <a:pt x="353" y="11"/>
                  </a:cubicBezTo>
                  <a:cubicBezTo>
                    <a:pt x="566" y="224"/>
                    <a:pt x="566" y="224"/>
                    <a:pt x="566" y="224"/>
                  </a:cubicBezTo>
                  <a:cubicBezTo>
                    <a:pt x="568" y="225"/>
                    <a:pt x="569" y="227"/>
                    <a:pt x="571" y="229"/>
                  </a:cubicBezTo>
                  <a:cubicBezTo>
                    <a:pt x="571" y="230"/>
                    <a:pt x="571" y="230"/>
                    <a:pt x="571" y="230"/>
                  </a:cubicBezTo>
                  <a:cubicBezTo>
                    <a:pt x="572" y="231"/>
                    <a:pt x="572" y="231"/>
                    <a:pt x="572" y="231"/>
                  </a:cubicBezTo>
                  <a:cubicBezTo>
                    <a:pt x="572" y="232"/>
                    <a:pt x="573" y="234"/>
                    <a:pt x="574" y="236"/>
                  </a:cubicBezTo>
                  <a:cubicBezTo>
                    <a:pt x="574" y="237"/>
                    <a:pt x="575" y="238"/>
                    <a:pt x="575" y="238"/>
                  </a:cubicBezTo>
                  <a:cubicBezTo>
                    <a:pt x="575" y="240"/>
                    <a:pt x="576" y="241"/>
                    <a:pt x="576" y="243"/>
                  </a:cubicBezTo>
                  <a:cubicBezTo>
                    <a:pt x="577" y="246"/>
                    <a:pt x="577" y="248"/>
                    <a:pt x="577" y="251"/>
                  </a:cubicBezTo>
                  <a:cubicBezTo>
                    <a:pt x="577" y="253"/>
                    <a:pt x="577" y="256"/>
                    <a:pt x="576" y="258"/>
                  </a:cubicBezTo>
                  <a:cubicBezTo>
                    <a:pt x="576" y="260"/>
                    <a:pt x="575" y="262"/>
                    <a:pt x="575" y="263"/>
                  </a:cubicBezTo>
                  <a:cubicBezTo>
                    <a:pt x="575" y="264"/>
                    <a:pt x="575" y="265"/>
                    <a:pt x="574" y="266"/>
                  </a:cubicBezTo>
                  <a:cubicBezTo>
                    <a:pt x="573" y="267"/>
                    <a:pt x="573" y="269"/>
                    <a:pt x="572" y="271"/>
                  </a:cubicBezTo>
                  <a:cubicBezTo>
                    <a:pt x="571" y="271"/>
                    <a:pt x="571" y="272"/>
                    <a:pt x="571" y="272"/>
                  </a:cubicBezTo>
                  <a:cubicBezTo>
                    <a:pt x="569" y="274"/>
                    <a:pt x="568" y="276"/>
                    <a:pt x="566" y="278"/>
                  </a:cubicBezTo>
                  <a:cubicBezTo>
                    <a:pt x="353" y="491"/>
                    <a:pt x="353" y="491"/>
                    <a:pt x="353" y="491"/>
                  </a:cubicBezTo>
                  <a:cubicBezTo>
                    <a:pt x="346" y="498"/>
                    <a:pt x="336" y="502"/>
                    <a:pt x="326" y="5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142BDF1C-A4C1-5D0D-8817-899B95F76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8FF25E40-04D3-C5D9-B3F6-48AD1C9FA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817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2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"/>
                            </p:stCondLst>
                            <p:childTnLst>
                              <p:par>
                                <p:cTn id="2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2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8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2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400"/>
                            </p:stCondLst>
                            <p:childTnLst>
                              <p:par>
                                <p:cTn id="3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2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6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2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41" grpId="0" animBg="1"/>
      <p:bldP spid="10" grpId="0" animBg="1"/>
      <p:bldP spid="53" grpId="0" animBg="1"/>
      <p:bldP spid="9" grpId="0" animBg="1"/>
      <p:bldP spid="52" grpId="0" animBg="1"/>
      <p:bldP spid="8" grpId="0" animBg="1"/>
      <p:bldP spid="3" grpId="0" animBg="1"/>
      <p:bldP spid="51" grpId="0" animBg="1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Demographie:</a:t>
            </a:r>
            <a:br>
              <a:rPr lang="de-DE" dirty="0"/>
            </a:br>
            <a:r>
              <a:rPr lang="de-DE" dirty="0"/>
              <a:t>(Erweiterung)</a:t>
            </a:r>
            <a:br>
              <a:rPr lang="de-DE" dirty="0"/>
            </a:br>
            <a:br>
              <a:rPr lang="de-DE" b="1" dirty="0"/>
            </a:br>
            <a:r>
              <a:rPr lang="de-DE" dirty="0"/>
              <a:t>I: Geburtenentwicklung</a:t>
            </a:r>
            <a:br>
              <a:rPr lang="de-DE" dirty="0"/>
            </a:br>
            <a:r>
              <a:rPr lang="de-DE" b="1" dirty="0">
                <a:solidFill>
                  <a:schemeClr val="accent2"/>
                </a:solidFill>
              </a:rPr>
              <a:t>II: Sterblichkeit</a:t>
            </a:r>
            <a:br>
              <a:rPr lang="de-DE" b="1" dirty="0"/>
            </a:br>
            <a:r>
              <a:rPr lang="de-DE" b="1" dirty="0"/>
              <a:t>III: Migration</a:t>
            </a:r>
            <a:br>
              <a:rPr lang="de-DE" b="1" dirty="0"/>
            </a:b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69028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: zehn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68" y="1131590"/>
            <a:ext cx="8676736" cy="37959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900" dirty="0"/>
              <a:t>Bevölkerung definieren </a:t>
            </a:r>
            <a:r>
              <a:rPr lang="de-DE" sz="1900" b="0" dirty="0"/>
              <a:t>und aktuelle </a:t>
            </a:r>
            <a:r>
              <a:rPr lang="de-DE" sz="1900" dirty="0"/>
              <a:t>Bevölkerungsgröße</a:t>
            </a:r>
            <a:r>
              <a:rPr lang="de-DE" sz="1900" b="0" dirty="0"/>
              <a:t> </a:t>
            </a:r>
            <a:r>
              <a:rPr lang="de-DE" sz="1900" b="0" dirty="0" err="1"/>
              <a:t>DE‘s</a:t>
            </a:r>
            <a:r>
              <a:rPr lang="de-DE" sz="1900" b="0" dirty="0"/>
              <a:t> ke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900" b="0" dirty="0"/>
              <a:t>Die </a:t>
            </a:r>
            <a:r>
              <a:rPr lang="de-DE" sz="1900" dirty="0"/>
              <a:t>Haupttrend</a:t>
            </a:r>
            <a:r>
              <a:rPr lang="de-DE" sz="1900" b="0" dirty="0"/>
              <a:t> des </a:t>
            </a:r>
            <a:r>
              <a:rPr lang="de-DE" sz="1900" dirty="0"/>
              <a:t>demographischen Wandels </a:t>
            </a:r>
            <a:r>
              <a:rPr lang="de-DE" sz="1900" b="0" dirty="0"/>
              <a:t>kennen </a:t>
            </a:r>
          </a:p>
          <a:p>
            <a:pPr marL="342900" indent="-342900">
              <a:buFontTx/>
              <a:buChar char="-"/>
            </a:pPr>
            <a:r>
              <a:rPr lang="de-DE" sz="1900" dirty="0">
                <a:solidFill>
                  <a:schemeClr val="bg1">
                    <a:lumMod val="75000"/>
                  </a:schemeClr>
                </a:solidFill>
              </a:rPr>
              <a:t>1) Geburtenrückgang </a:t>
            </a:r>
          </a:p>
          <a:p>
            <a:pPr marL="342900" indent="-342900">
              <a:buFontTx/>
              <a:buChar char="-"/>
            </a:pPr>
            <a:r>
              <a:rPr lang="de-DE" sz="1900" dirty="0"/>
              <a:t>2) Alterung</a:t>
            </a:r>
          </a:p>
          <a:p>
            <a:pPr marL="342900" indent="-342900">
              <a:buFontTx/>
              <a:buChar char="-"/>
            </a:pPr>
            <a:r>
              <a:rPr lang="de-DE" sz="1900" dirty="0"/>
              <a:t>3) Migration</a:t>
            </a:r>
          </a:p>
          <a:p>
            <a:r>
              <a:rPr lang="de-DE" sz="1900" b="0" dirty="0"/>
              <a:t>     …  und diese </a:t>
            </a:r>
            <a:r>
              <a:rPr lang="de-DE" sz="1900" dirty="0"/>
              <a:t>bestimmen</a:t>
            </a:r>
            <a:r>
              <a:rPr lang="de-DE" sz="1900" b="0" dirty="0"/>
              <a:t> und </a:t>
            </a:r>
            <a:r>
              <a:rPr lang="de-DE" sz="1900" dirty="0"/>
              <a:t>beschreiben</a:t>
            </a:r>
            <a:r>
              <a:rPr lang="de-DE" sz="1900" b="0" dirty="0"/>
              <a:t> kö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0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567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1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70303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Weihnachten &amp; Neujahr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Lebensformen</a:t>
            </a: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Lebensalter und Sterblichkei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589117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Messung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Lebensalter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lebten Jahre seit Geburt bis zum Todestag (durchschnittliche Lebenserwartung bei Geburt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Beispiel: Durchschnittliche Lebenserwartung eines weiblichen Neugeborenen im Jahre 2022 liegt bei X Jahr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2) </a:t>
            </a:r>
            <a:r>
              <a:rPr lang="de-DE" sz="1800" b="0" dirty="0">
                <a:solidFill>
                  <a:schemeClr val="accent2"/>
                </a:solidFill>
              </a:rPr>
              <a:t>Sterblichkeitsrisiko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Verbleibende Lebenserwartung: wie viele Lebensjahre hat ein Mensch im Alter X noch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Beispiel: 50 jähriger hat noch durchschnittlich X Jahre zu leb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Trends: Lebenserwar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058262"/>
            <a:ext cx="4104000" cy="3366000"/>
          </a:xfrm>
        </p:spPr>
        <p:txBody>
          <a:bodyPr anchor="t">
            <a:normAutofit/>
          </a:bodyPr>
          <a:lstStyle/>
          <a:p>
            <a:pPr>
              <a:spcAft>
                <a:spcPts val="800"/>
              </a:spcAft>
            </a:pPr>
            <a:r>
              <a:rPr lang="de-DE" sz="1800" b="0" dirty="0"/>
              <a:t>Historische Entwicklung:</a:t>
            </a:r>
          </a:p>
          <a:p>
            <a:pPr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Zunehmende Lebenserwartung 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Um 1700 rund: 30 Jahre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 Heute (2019) rund m: 78,63 Jahre          w: 83,36 Jahre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Lebenserwartung steigt nach wie vor kontinuierlich, jedoch flacher</a:t>
            </a:r>
          </a:p>
          <a:p>
            <a:pPr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Durchweg Frauen höhere Lebenserwartung</a:t>
            </a:r>
          </a:p>
          <a:p>
            <a:pPr>
              <a:spcAft>
                <a:spcPts val="800"/>
              </a:spcAft>
            </a:pPr>
            <a:endParaRPr lang="de-DE" b="0" dirty="0"/>
          </a:p>
          <a:p>
            <a:pPr>
              <a:spcAft>
                <a:spcPts val="800"/>
              </a:spcAft>
            </a:pP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</a:t>
            </a:r>
            <a:r>
              <a:rPr lang="de-DE" sz="700" err="1"/>
              <a:t>runtemund</a:t>
            </a:r>
            <a:r>
              <a:rPr lang="de-DE" sz="70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r>
              <a:rPr lang="de-DE" sz="700"/>
              <a:t> </a:t>
            </a:r>
          </a:p>
        </p:txBody>
      </p:sp>
      <p:pic>
        <p:nvPicPr>
          <p:cNvPr id="7" name="Grafik 6" descr="Ein Bild, das Tisch enthält.&#10;&#10;Automatisch generierte Beschreibung">
            <a:extLst>
              <a:ext uri="{FF2B5EF4-FFF2-40B4-BE49-F238E27FC236}">
                <a16:creationId xmlns:a16="http://schemas.microsoft.com/office/drawing/2014/main" id="{C5239A20-3F85-F4DE-50D7-251ED9190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3286" y="1050652"/>
            <a:ext cx="4527431" cy="3366000"/>
          </a:xfrm>
          <a:prstGeom prst="rect">
            <a:avLst/>
          </a:prstGeom>
          <a:noFill/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ED40F20-CB36-A4B1-A647-53516124A109}"/>
              </a:ext>
            </a:extLst>
          </p:cNvPr>
          <p:cNvSpPr txBox="1">
            <a:spLocks/>
          </p:cNvSpPr>
          <p:nvPr/>
        </p:nvSpPr>
        <p:spPr>
          <a:xfrm>
            <a:off x="5040000" y="3517428"/>
            <a:ext cx="4104000" cy="10403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à"/>
            </a:pP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775593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Trends: Demographi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1047361"/>
            <a:ext cx="4104000" cy="3366000"/>
          </a:xfrm>
        </p:spPr>
        <p:txBody>
          <a:bodyPr anchor="t">
            <a:normAutofit/>
          </a:bodyPr>
          <a:lstStyle/>
          <a:p>
            <a:pPr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Geborene und Gestorbene</a:t>
            </a:r>
            <a:r>
              <a:rPr lang="de-DE" sz="1800" b="0" dirty="0"/>
              <a:t>: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eigt den zweiten Geburtenrückgang (Anfang 70er)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on dort an sinkt der Anteil der Geborenen unter den Anteil der Gestorbenen &amp; und bleibt auch kontinuierlich darunter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Bestandserhaltungsniveau &amp; damit schrumpfende Gesellschaft </a:t>
            </a:r>
            <a:endParaRPr lang="de-DE" sz="1800" b="0" dirty="0"/>
          </a:p>
          <a:p>
            <a:pPr>
              <a:spcAft>
                <a:spcPts val="800"/>
              </a:spcAft>
            </a:pP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</a:t>
            </a:r>
            <a:r>
              <a:rPr lang="de-DE" sz="700" err="1"/>
              <a:t>runtemund</a:t>
            </a:r>
            <a:r>
              <a:rPr lang="de-DE" sz="70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r>
              <a:rPr lang="de-DE" sz="70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3B018F8-EB6E-A467-5EE1-EA16537D5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4684" y="888259"/>
            <a:ext cx="4604396" cy="3395741"/>
          </a:xfrm>
          <a:prstGeom prst="rect">
            <a:avLst/>
          </a:prstGeom>
          <a:noFill/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ED40F20-CB36-A4B1-A647-53516124A109}"/>
              </a:ext>
            </a:extLst>
          </p:cNvPr>
          <p:cNvSpPr txBox="1">
            <a:spLocks/>
          </p:cNvSpPr>
          <p:nvPr/>
        </p:nvSpPr>
        <p:spPr>
          <a:xfrm>
            <a:off x="5040000" y="3517428"/>
            <a:ext cx="4104000" cy="10403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à"/>
            </a:pP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609080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Trends: Lebenserwar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03616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Zunehmende Lebenserwartung 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Ursachen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Medizinischer Fortschritt. Hygiene, Eliminierung von Seuchen und Infektionskrankheiten, Gesundheitsbewusstsei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taatliches Fürsorgesystem und steigender Wohlstand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erbesserte Arbeitsbedingung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hohes Bildungsniveau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tc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778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E0E631FC-7E0B-0169-11C2-B0699C53B1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3586" y="143788"/>
            <a:ext cx="4123399" cy="435021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1497"/>
            <a:ext cx="5328120" cy="468000"/>
          </a:xfrm>
        </p:spPr>
        <p:txBody>
          <a:bodyPr/>
          <a:lstStyle/>
          <a:p>
            <a:r>
              <a:rPr lang="de-DE" dirty="0"/>
              <a:t>Bevölkerungspyramiden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BB0CE9D-1027-5E34-8BBB-8E097ABD7210}"/>
              </a:ext>
            </a:extLst>
          </p:cNvPr>
          <p:cNvSpPr txBox="1"/>
          <p:nvPr/>
        </p:nvSpPr>
        <p:spPr>
          <a:xfrm>
            <a:off x="324000" y="651225"/>
            <a:ext cx="4123398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>
                <a:solidFill>
                  <a:schemeClr val="accent2"/>
                </a:solidFill>
              </a:rPr>
              <a:t>Altersstruktur der Bevölkerung:</a:t>
            </a:r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  <a:p>
            <a:endParaRPr lang="de-DE" sz="1700" dirty="0">
              <a:solidFill>
                <a:schemeClr val="tx2"/>
              </a:solidFill>
            </a:endParaRPr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B6F42617-D0CF-135B-6EA6-4D8B72FC3C47}"/>
              </a:ext>
            </a:extLst>
          </p:cNvPr>
          <p:cNvSpPr/>
          <p:nvPr/>
        </p:nvSpPr>
        <p:spPr>
          <a:xfrm>
            <a:off x="3343878" y="1002279"/>
            <a:ext cx="990032" cy="86409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" name="Tabelle 10">
            <a:extLst>
              <a:ext uri="{FF2B5EF4-FFF2-40B4-BE49-F238E27FC236}">
                <a16:creationId xmlns:a16="http://schemas.microsoft.com/office/drawing/2014/main" id="{A339CF9E-04A4-9D2D-CF2A-ED9039EC4072}"/>
              </a:ext>
            </a:extLst>
          </p:cNvPr>
          <p:cNvGraphicFramePr>
            <a:graphicFrameLocks noGrp="1"/>
          </p:cNvGraphicFramePr>
          <p:nvPr/>
        </p:nvGraphicFramePr>
        <p:xfrm>
          <a:off x="258888" y="1002279"/>
          <a:ext cx="2951975" cy="152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1975">
                  <a:extLst>
                    <a:ext uri="{9D8B030D-6E8A-4147-A177-3AD203B41FA5}">
                      <a16:colId xmlns:a16="http://schemas.microsoft.com/office/drawing/2014/main" val="39484795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Früher: Pyrami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481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Spitze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8207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Boden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7271782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C89E4148-F9C5-C103-2D45-F20AE1B50658}"/>
              </a:ext>
            </a:extLst>
          </p:cNvPr>
          <p:cNvGraphicFramePr>
            <a:graphicFrameLocks noGrp="1"/>
          </p:cNvGraphicFramePr>
          <p:nvPr/>
        </p:nvGraphicFramePr>
        <p:xfrm>
          <a:off x="258888" y="2756649"/>
          <a:ext cx="4246604" cy="132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6604">
                  <a:extLst>
                    <a:ext uri="{9D8B030D-6E8A-4147-A177-3AD203B41FA5}">
                      <a16:colId xmlns:a16="http://schemas.microsoft.com/office/drawing/2014/main" val="39484795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Nun: Urnen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481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Mitte/ oben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8207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Unten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7271782"/>
                  </a:ext>
                </a:extLst>
              </a:tr>
            </a:tbl>
          </a:graphicData>
        </a:graphic>
      </p:graphicFrame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64569953-9017-1788-A718-3FE217B72348}"/>
              </a:ext>
            </a:extLst>
          </p:cNvPr>
          <p:cNvCxnSpPr>
            <a:cxnSpLocks/>
          </p:cNvCxnSpPr>
          <p:nvPr/>
        </p:nvCxnSpPr>
        <p:spPr>
          <a:xfrm flipH="1">
            <a:off x="2988060" y="1742779"/>
            <a:ext cx="881940" cy="5687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387FD714-D9AF-0D56-9F84-CDF0DB35255F}"/>
              </a:ext>
            </a:extLst>
          </p:cNvPr>
          <p:cNvCxnSpPr>
            <a:cxnSpLocks/>
          </p:cNvCxnSpPr>
          <p:nvPr/>
        </p:nvCxnSpPr>
        <p:spPr>
          <a:xfrm flipH="1">
            <a:off x="2988060" y="1117945"/>
            <a:ext cx="881940" cy="6248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20B2ACF8-F709-DF3D-3445-DBE8EE0005DC}"/>
              </a:ext>
            </a:extLst>
          </p:cNvPr>
          <p:cNvCxnSpPr>
            <a:cxnSpLocks/>
          </p:cNvCxnSpPr>
          <p:nvPr/>
        </p:nvCxnSpPr>
        <p:spPr>
          <a:xfrm flipH="1">
            <a:off x="4295127" y="2318895"/>
            <a:ext cx="1356993" cy="12309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11C1867C-01DA-5095-BAED-2440429DC266}"/>
              </a:ext>
            </a:extLst>
          </p:cNvPr>
          <p:cNvCxnSpPr>
            <a:cxnSpLocks/>
          </p:cNvCxnSpPr>
          <p:nvPr/>
        </p:nvCxnSpPr>
        <p:spPr>
          <a:xfrm flipH="1">
            <a:off x="4333910" y="3723878"/>
            <a:ext cx="1541013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191B6219-2A77-622F-3F30-A48037BA4195}"/>
              </a:ext>
            </a:extLst>
          </p:cNvPr>
          <p:cNvSpPr txBox="1"/>
          <p:nvPr/>
        </p:nvSpPr>
        <p:spPr>
          <a:xfrm>
            <a:off x="963585" y="1399931"/>
            <a:ext cx="2733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geringe Anzahl ältere </a:t>
            </a:r>
          </a:p>
          <a:p>
            <a:r>
              <a:rPr lang="de-DE" sz="1600" dirty="0"/>
              <a:t>Personen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D7E73B6C-25E4-A60A-718C-6FF966CF6398}"/>
              </a:ext>
            </a:extLst>
          </p:cNvPr>
          <p:cNvSpPr txBox="1"/>
          <p:nvPr/>
        </p:nvSpPr>
        <p:spPr>
          <a:xfrm>
            <a:off x="973823" y="1970102"/>
            <a:ext cx="2733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hohe Anzahl an jungen Menschen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71F59DE9-B28D-FE46-5A7B-52DFA47F4415}"/>
              </a:ext>
            </a:extLst>
          </p:cNvPr>
          <p:cNvSpPr txBox="1"/>
          <p:nvPr/>
        </p:nvSpPr>
        <p:spPr>
          <a:xfrm>
            <a:off x="1362385" y="3131513"/>
            <a:ext cx="33342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sehr hohe Anzahl Älterer (speziell </a:t>
            </a:r>
          </a:p>
          <a:p>
            <a:r>
              <a:rPr lang="de-DE" sz="1600" dirty="0"/>
              <a:t>Baby-Boomer Generation-60er)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53676F09-386C-3A1F-C803-15DE6482F444}"/>
              </a:ext>
            </a:extLst>
          </p:cNvPr>
          <p:cNvSpPr txBox="1"/>
          <p:nvPr/>
        </p:nvSpPr>
        <p:spPr>
          <a:xfrm>
            <a:off x="927708" y="3730064"/>
            <a:ext cx="36939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geringere Anzahl jüngerer Menschen</a:t>
            </a:r>
          </a:p>
        </p:txBody>
      </p:sp>
      <p:sp>
        <p:nvSpPr>
          <p:cNvPr id="38" name="Sprechblase: rechteckig mit abgerundeten Ecken 37">
            <a:extLst>
              <a:ext uri="{FF2B5EF4-FFF2-40B4-BE49-F238E27FC236}">
                <a16:creationId xmlns:a16="http://schemas.microsoft.com/office/drawing/2014/main" id="{B58764FB-86A4-AD99-E85F-25B6F12BA591}"/>
              </a:ext>
            </a:extLst>
          </p:cNvPr>
          <p:cNvSpPr/>
          <p:nvPr/>
        </p:nvSpPr>
        <p:spPr>
          <a:xfrm>
            <a:off x="3554985" y="2174113"/>
            <a:ext cx="980100" cy="183868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Beispiel?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C260401B-8B14-64E7-7932-E87ED3A2F418}"/>
              </a:ext>
            </a:extLst>
          </p:cNvPr>
          <p:cNvCxnSpPr>
            <a:cxnSpLocks/>
          </p:cNvCxnSpPr>
          <p:nvPr/>
        </p:nvCxnSpPr>
        <p:spPr>
          <a:xfrm flipH="1">
            <a:off x="4421596" y="1711384"/>
            <a:ext cx="1638012" cy="16138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48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5" grpId="0"/>
      <p:bldP spid="36" grpId="0"/>
      <p:bldP spid="3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Demographie: Altersstruktur 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C8BA3E5-7A8A-5843-49EF-D34321191C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00727" y="643267"/>
            <a:ext cx="5881275" cy="3970989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B2C43AD-10C6-3675-D55C-B2270AFF7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187" y="621630"/>
            <a:ext cx="3713813" cy="390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40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Demographie: Altersstruktur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1" y="803616"/>
            <a:ext cx="5130112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Altersaufbau</a:t>
            </a:r>
            <a:r>
              <a:rPr lang="de-DE" sz="1800" b="0" dirty="0">
                <a:solidFill>
                  <a:schemeClr val="accent2"/>
                </a:solidFill>
              </a:rPr>
              <a:t> nach Migrationshintergrund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Migranten = selbst oder mind. ein Elternteil nicht deutsche Staatsangehörigkeit durch Gebur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erhältnis pro 1.000 Personen mit und ohne MH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Bevölkerung mit MH deutlich jünger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Migration als Chance der Schrumpfung/ Alterung entgegenzuwirken??</a:t>
            </a: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runtemund@.rub.de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7" name="Bildplatzhalter 8">
            <a:extLst>
              <a:ext uri="{FF2B5EF4-FFF2-40B4-BE49-F238E27FC236}">
                <a16:creationId xmlns:a16="http://schemas.microsoft.com/office/drawing/2014/main" id="{D844E754-A667-9E30-7D98-1D57843AC3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0112" y="335256"/>
            <a:ext cx="2927644" cy="4157247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99CAE4D-401F-D1DC-7F28-09DFE95CD3F8}"/>
              </a:ext>
            </a:extLst>
          </p:cNvPr>
          <p:cNvCxnSpPr>
            <a:cxnSpLocks/>
          </p:cNvCxnSpPr>
          <p:nvPr/>
        </p:nvCxnSpPr>
        <p:spPr>
          <a:xfrm>
            <a:off x="4117762" y="2425833"/>
            <a:ext cx="3046238" cy="15860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0A778B43-A6A7-C023-9D07-CD46EA4B8C1A}"/>
              </a:ext>
            </a:extLst>
          </p:cNvPr>
          <p:cNvCxnSpPr>
            <a:cxnSpLocks/>
          </p:cNvCxnSpPr>
          <p:nvPr/>
        </p:nvCxnSpPr>
        <p:spPr>
          <a:xfrm>
            <a:off x="4117763" y="2425833"/>
            <a:ext cx="2758493" cy="505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8CDDF18-E867-302B-0EBD-58BDD23ED211}"/>
              </a:ext>
            </a:extLst>
          </p:cNvPr>
          <p:cNvCxnSpPr>
            <a:cxnSpLocks/>
          </p:cNvCxnSpPr>
          <p:nvPr/>
        </p:nvCxnSpPr>
        <p:spPr>
          <a:xfrm>
            <a:off x="4061991" y="2425833"/>
            <a:ext cx="3174305" cy="405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99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01</Words>
  <Application>Microsoft Office PowerPoint</Application>
  <PresentationFormat>Bildschirmpräsentation (16:9)</PresentationFormat>
  <Paragraphs>242</Paragraphs>
  <Slides>2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Calibri-Bold</vt:lpstr>
      <vt:lpstr>Wingdings</vt:lpstr>
      <vt:lpstr>PowerPoint Master RUB</vt:lpstr>
      <vt:lpstr>Tutorium zur VL. Sitzung (Teil 14  2 und 3)</vt:lpstr>
      <vt:lpstr>Demographie: (Erweiterung)  I: Geburtenentwicklung II: Sterblichkeit III: Migration                                                    Degele &amp; Dries (2005)   </vt:lpstr>
      <vt:lpstr>Lebensalter und Sterblichkeit:</vt:lpstr>
      <vt:lpstr>Trends: Lebenserwartung</vt:lpstr>
      <vt:lpstr>Trends: Demographie:</vt:lpstr>
      <vt:lpstr>Trends: Lebenserwartung</vt:lpstr>
      <vt:lpstr>Bevölkerungspyramiden </vt:lpstr>
      <vt:lpstr>Demographie: Altersstruktur </vt:lpstr>
      <vt:lpstr>Demographie: Altersstruktur </vt:lpstr>
      <vt:lpstr>Demographie: Altersstruktur </vt:lpstr>
      <vt:lpstr>Demographie: Altersstruktur </vt:lpstr>
      <vt:lpstr>Demographie: Altersstruktur </vt:lpstr>
      <vt:lpstr>Herausforderungen der alternden Bevölkerung </vt:lpstr>
      <vt:lpstr>Demographie: (Erweiterung)  I: Geburtenentwicklung II: Sterblichkeit III: Migration                                                    Degele &amp; Dries (2005)   </vt:lpstr>
      <vt:lpstr>Migration</vt:lpstr>
      <vt:lpstr>Migration: Gründe</vt:lpstr>
      <vt:lpstr>Migrationshintergrund:</vt:lpstr>
      <vt:lpstr>Migrationshintergrund: Trends</vt:lpstr>
      <vt:lpstr>Migration: Herausforderungen und Maßnahmen</vt:lpstr>
      <vt:lpstr>Lernziele: zehnte Sitzung 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66</cp:revision>
  <cp:lastPrinted>2022-05-08T18:17:36Z</cp:lastPrinted>
  <dcterms:created xsi:type="dcterms:W3CDTF">2020-06-22T16:14:58Z</dcterms:created>
  <dcterms:modified xsi:type="dcterms:W3CDTF">2022-12-27T11:50:36Z</dcterms:modified>
</cp:coreProperties>
</file>